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2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4.xml" ContentType="application/vnd.openxmlformats-officedocument.theme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7045" r:id="rId4"/>
    <p:sldMasterId id="2147485226" r:id="rId5"/>
    <p:sldMasterId id="2147486958" r:id="rId6"/>
    <p:sldMasterId id="2147487248" r:id="rId7"/>
    <p:sldMasterId id="2147483821" r:id="rId8"/>
  </p:sldMasterIdLst>
  <p:notesMasterIdLst>
    <p:notesMasterId r:id="rId14"/>
  </p:notesMasterIdLst>
  <p:sldIdLst>
    <p:sldId id="444" r:id="rId9"/>
    <p:sldId id="447" r:id="rId10"/>
    <p:sldId id="448" r:id="rId11"/>
    <p:sldId id="445" r:id="rId12"/>
    <p:sldId id="44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ksym Medvied" initials="MM" lastIdx="1" clrIdx="0">
    <p:extLst>
      <p:ext uri="{19B8F6BF-5375-455C-9EA6-DF929625EA0E}">
        <p15:presenceInfo xmlns:p15="http://schemas.microsoft.com/office/powerpoint/2012/main" userId="S::max.medved@seagate.com::03f7a06b-a79b-4ea7-9962-edf9abd0a47d" providerId="AD"/>
      </p:ext>
    </p:extLst>
  </p:cmAuthor>
  <p:cmAuthor id="2" name="Ujjwal Lanjewar" initials="UL" lastIdx="4" clrIdx="1">
    <p:extLst>
      <p:ext uri="{19B8F6BF-5375-455C-9EA6-DF929625EA0E}">
        <p15:presenceInfo xmlns:p15="http://schemas.microsoft.com/office/powerpoint/2012/main" userId="S::ujjwal.lanjewar@seagate.com::a7c04530-e8b4-4fe4-b8a0-dd21022acb40" providerId="AD"/>
      </p:ext>
    </p:extLst>
  </p:cmAuthor>
  <p:cmAuthor id="3" name="Ivan Tishchenko" initials="IT" lastIdx="3" clrIdx="2">
    <p:extLst>
      <p:ext uri="{19B8F6BF-5375-455C-9EA6-DF929625EA0E}">
        <p15:presenceInfo xmlns:p15="http://schemas.microsoft.com/office/powerpoint/2012/main" userId="S::ivan.tishchenko@seagate.com::da109aa0-1b7f-44e3-9334-7dc633c2fd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FF"/>
    <a:srgbClr val="FFB793"/>
    <a:srgbClr val="FF9966"/>
    <a:srgbClr val="FA7D7D"/>
    <a:srgbClr val="6EBE49"/>
    <a:srgbClr val="ACCD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10" autoAdjust="0"/>
    <p:restoredTop sz="94694"/>
  </p:normalViewPr>
  <p:slideViewPr>
    <p:cSldViewPr snapToGrid="0">
      <p:cViewPr varScale="1">
        <p:scale>
          <a:sx n="68" d="100"/>
          <a:sy n="68" d="100"/>
        </p:scale>
        <p:origin x="87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600E9-16E0-4A9C-8002-237942B9B468}" type="datetimeFigureOut">
              <a:rPr lang="en"/>
              <a:t>12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04E7D6-B666-418D-B581-4DCEB8DC6EF6}" type="slidenum">
              <a:rPr lang="en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811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976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455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199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5213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791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1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8.jpe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3.jpeg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png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5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6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1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1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6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7063" lvl="2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6083" lvl="3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5105" lvl="4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4126" lvl="5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3146" lvl="6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2168" lvl="7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1188" lvl="8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7"/>
            <a:ext cx="49652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0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3"/>
            <a:ext cx="6756000" cy="685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5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0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0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5"/>
            <a:ext cx="12186800" cy="34808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1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7"/>
            <a:ext cx="3184000" cy="304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7"/>
            <a:ext cx="3184000" cy="30444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7"/>
            <a:ext cx="3184000" cy="304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7"/>
            <a:ext cx="7427200" cy="42612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7"/>
            <a:ext cx="4768000" cy="4261200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1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0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5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0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5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5"/>
            <a:ext cx="11193600" cy="44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8754" lvl="2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8339" lvl="3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7924" lvl="4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7509" lvl="5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7093" lvl="6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6678" lvl="7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6263" lvl="8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1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5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5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3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3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05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68575" tIns="68575" rIns="68575" bIns="6857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9pPr>
          </a:lstStyle>
          <a:p>
            <a:endParaRPr/>
          </a:p>
        </p:txBody>
      </p:sp>
      <p:sp>
        <p:nvSpPr>
          <p:cNvPr id="976" name="Google Shape;976;p105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9pPr>
          </a:lstStyle>
          <a:p>
            <a:endParaRPr/>
          </a:p>
        </p:txBody>
      </p:sp>
      <p:sp>
        <p:nvSpPr>
          <p:cNvPr id="977" name="Google Shape;977;p10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4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5821" lvl="1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3730" lvl="2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40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1596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6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5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marR="0" lvl="0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7912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5821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3730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16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16" lvl="1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373" lvl="2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marR="0" lvl="0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58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16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37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2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58" lvl="0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16" lvl="1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373" lvl="2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29" lvl="3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289" lvl="4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747" lvl="5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203" lvl="6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661" lvl="7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118" lvl="8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7912" lvl="0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5821" lvl="1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3730" lvl="2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1639" lvl="3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39551" lvl="4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47460" lvl="5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5371" lvl="6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3280" lvl="7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1189" lvl="8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3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47" lvl="1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419" lvl="2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marR="0" lvl="0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74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47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419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91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74" lvl="0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47" lvl="1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419" lvl="2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91" lvl="3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365" lvl="4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837" lvl="5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310" lvl="6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782" lvl="7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255" lvl="8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8043" lvl="1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7063" lvl="2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8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1599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4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2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marR="0" lvl="0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021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8043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706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6083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021" lvl="0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8043" lvl="1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7063" lvl="2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6083" lvl="3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5105" lvl="4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4126" lvl="5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3146" lvl="6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2168" lvl="7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1188" lvl="8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8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0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3"/>
            <a:ext cx="1185200" cy="2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5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7"/>
            <a:ext cx="11364400" cy="46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3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1"/>
            <a:ext cx="102236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marR="0" lvl="0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4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2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1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585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9170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8754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83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585" lvl="0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9170" lvl="1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8754" lvl="2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8339" lvl="3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7924" lvl="4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7509" lvl="5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7093" lvl="6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6678" lvl="7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6263" lvl="8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04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68727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1159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5273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8599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8700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6651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6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7672388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429460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474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959556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23234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696288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2469951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2470150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77394067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615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114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3460735985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Sta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5206" y="1397344"/>
            <a:ext cx="3573462" cy="1853537"/>
          </a:xfrm>
          <a:prstGeom prst="rect">
            <a:avLst/>
          </a:prstGeom>
        </p:spPr>
        <p:txBody>
          <a:bodyPr/>
          <a:lstStyle>
            <a:lvl1pPr>
              <a:defRPr sz="12500"/>
            </a:lvl1pPr>
          </a:lstStyle>
          <a:p>
            <a:pPr lvl="0"/>
            <a:r>
              <a:rPr lang="en-US"/>
              <a:t>65%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35206" y="3283155"/>
            <a:ext cx="5283928" cy="10010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spcBef>
                <a:spcPts val="0"/>
              </a:spcBef>
              <a:defRPr lang="en-US" sz="4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 Description</a:t>
            </a:r>
          </a:p>
        </p:txBody>
      </p:sp>
    </p:spTree>
    <p:extLst>
      <p:ext uri="{BB962C8B-B14F-4D97-AF65-F5344CB8AC3E}">
        <p14:creationId xmlns:p14="http://schemas.microsoft.com/office/powerpoint/2010/main" val="400713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262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396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808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56766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24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15629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36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64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033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421559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1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391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6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32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98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95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85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8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75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54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31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729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87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42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22064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623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26017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942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1075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2745536"/>
      </p:ext>
    </p:extLst>
  </p:cSld>
  <p:clrMapOvr>
    <a:masterClrMapping/>
  </p:clrMapOvr>
  <p:transition spd="med">
    <p:fade thruBlk="1"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8230619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75676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8867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  <a:prstGeom prst="rect">
            <a:avLst/>
          </a:prstGeo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7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018163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729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090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7503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760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2849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1624959"/>
      </p:ext>
    </p:extLst>
  </p:cSld>
  <p:clrMapOvr>
    <a:masterClrMapping/>
  </p:clrMapOvr>
  <p:transition spd="med">
    <p:fade thruBlk="1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84160172"/>
      </p:ext>
    </p:extLst>
  </p:cSld>
  <p:clrMapOvr>
    <a:masterClrMapping/>
  </p:clrMapOvr>
  <p:transition spd="med">
    <p:fade thruBlk="1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60930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2487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18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2888317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5189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7906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268375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884651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71936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3194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0365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387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58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6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050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6330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8763BFF-5872-4E36-862F-82939CE2EF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print">
              <a:alphaModFix amt="43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algn="ctr">
              <a:defRPr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112875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FD6A7D7-BBFC-46D9-BD6F-3630418ED19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646864" y="0"/>
            <a:ext cx="5545136" cy="6858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843735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E85F8F51-1C9B-4B44-BA73-D1A2CB4E80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12191999" cy="378420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2359"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590870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AEDCD491-7B04-4A5E-975C-94607A7031F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0770" y="-8"/>
            <a:ext cx="6091231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629CCC8-B845-4CF7-93E5-FADCF3BFBC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-8"/>
            <a:ext cx="6100769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3412926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3413125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39157009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12854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941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1614678558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563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394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831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6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>
            <a:extLst>
              <a:ext uri="{FF2B5EF4-FFF2-40B4-BE49-F238E27FC236}">
                <a16:creationId xmlns:a16="http://schemas.microsoft.com/office/drawing/2014/main" id="{51259D3F-E530-B242-A99F-DC7E7D3973B7}"/>
              </a:ext>
            </a:extLst>
          </p:cNvPr>
          <p:cNvSpPr/>
          <p:nvPr userDrawn="1"/>
        </p:nvSpPr>
        <p:spPr>
          <a:xfrm>
            <a:off x="-73902" y="-35627"/>
            <a:ext cx="3931920" cy="6941127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0 w 6363516"/>
              <a:gd name="connsiteY0" fmla="*/ 0 h 11229185"/>
              <a:gd name="connsiteX1" fmla="*/ 6363516 w 6363516"/>
              <a:gd name="connsiteY1" fmla="*/ 0 h 11229185"/>
              <a:gd name="connsiteX2" fmla="*/ 3530669 w 6363516"/>
              <a:gd name="connsiteY2" fmla="*/ 11229185 h 11229185"/>
              <a:gd name="connsiteX3" fmla="*/ 0 w 6363516"/>
              <a:gd name="connsiteY3" fmla="*/ 11229185 h 11229185"/>
              <a:gd name="connsiteX4" fmla="*/ 0 w 636351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16" h="11229185">
                <a:moveTo>
                  <a:pt x="0" y="0"/>
                </a:moveTo>
                <a:lnTo>
                  <a:pt x="6363516" y="0"/>
                </a:lnTo>
                <a:lnTo>
                  <a:pt x="3530669" y="11229185"/>
                </a:lnTo>
                <a:lnTo>
                  <a:pt x="0" y="1122918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6" name="Rectangle 39">
            <a:extLst>
              <a:ext uri="{FF2B5EF4-FFF2-40B4-BE49-F238E27FC236}">
                <a16:creationId xmlns:a16="http://schemas.microsoft.com/office/drawing/2014/main" id="{1349D72F-8C7C-4748-873E-C8F9AE4E11E7}"/>
              </a:ext>
            </a:extLst>
          </p:cNvPr>
          <p:cNvSpPr/>
          <p:nvPr userDrawn="1"/>
        </p:nvSpPr>
        <p:spPr>
          <a:xfrm>
            <a:off x="2259275" y="-35626"/>
            <a:ext cx="3867365" cy="69266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50C756A6-1DD4-4746-9983-ABD732A9FAA5}"/>
              </a:ext>
            </a:extLst>
          </p:cNvPr>
          <p:cNvSpPr/>
          <p:nvPr userDrawn="1"/>
        </p:nvSpPr>
        <p:spPr>
          <a:xfrm>
            <a:off x="4562010" y="-35626"/>
            <a:ext cx="3867365" cy="694112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126299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9">
            <a:extLst>
              <a:ext uri="{FF2B5EF4-FFF2-40B4-BE49-F238E27FC236}">
                <a16:creationId xmlns:a16="http://schemas.microsoft.com/office/drawing/2014/main" id="{F2A6B369-0036-054B-A28F-0FF668A03822}"/>
              </a:ext>
            </a:extLst>
          </p:cNvPr>
          <p:cNvSpPr/>
          <p:nvPr userDrawn="1"/>
        </p:nvSpPr>
        <p:spPr>
          <a:xfrm>
            <a:off x="2158164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9" name="Rectangle 39">
            <a:extLst>
              <a:ext uri="{FF2B5EF4-FFF2-40B4-BE49-F238E27FC236}">
                <a16:creationId xmlns:a16="http://schemas.microsoft.com/office/drawing/2014/main" id="{57D737B4-B5B2-DF4C-AE4A-C68397194982}"/>
              </a:ext>
            </a:extLst>
          </p:cNvPr>
          <p:cNvSpPr/>
          <p:nvPr userDrawn="1"/>
        </p:nvSpPr>
        <p:spPr>
          <a:xfrm>
            <a:off x="4261517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0" name="Rectangle 39">
            <a:extLst>
              <a:ext uri="{FF2B5EF4-FFF2-40B4-BE49-F238E27FC236}">
                <a16:creationId xmlns:a16="http://schemas.microsoft.com/office/drawing/2014/main" id="{4237138A-00E4-EE4C-BCEC-489B99C24C44}"/>
              </a:ext>
            </a:extLst>
          </p:cNvPr>
          <p:cNvSpPr/>
          <p:nvPr userDrawn="1"/>
        </p:nvSpPr>
        <p:spPr>
          <a:xfrm>
            <a:off x="6376560" y="-35626"/>
            <a:ext cx="3506071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1" name="Rectangle 39">
            <a:extLst>
              <a:ext uri="{FF2B5EF4-FFF2-40B4-BE49-F238E27FC236}">
                <a16:creationId xmlns:a16="http://schemas.microsoft.com/office/drawing/2014/main" id="{F7E24681-28F3-AA40-A591-D0E90A59B49F}"/>
              </a:ext>
            </a:extLst>
          </p:cNvPr>
          <p:cNvSpPr/>
          <p:nvPr userDrawn="1"/>
        </p:nvSpPr>
        <p:spPr>
          <a:xfrm>
            <a:off x="8458120" y="-35626"/>
            <a:ext cx="3779794" cy="694059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2" name="Rectangle 39">
            <a:extLst>
              <a:ext uri="{FF2B5EF4-FFF2-40B4-BE49-F238E27FC236}">
                <a16:creationId xmlns:a16="http://schemas.microsoft.com/office/drawing/2014/main" id="{2AE0D405-C033-F047-A3BF-11BB174DBAE4}"/>
              </a:ext>
            </a:extLst>
          </p:cNvPr>
          <p:cNvSpPr/>
          <p:nvPr userDrawn="1"/>
        </p:nvSpPr>
        <p:spPr>
          <a:xfrm>
            <a:off x="-71253" y="-35626"/>
            <a:ext cx="3693712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34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</p:spTree>
    <p:extLst>
      <p:ext uri="{BB962C8B-B14F-4D97-AF65-F5344CB8AC3E}">
        <p14:creationId xmlns:p14="http://schemas.microsoft.com/office/powerpoint/2010/main" val="3060543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9">
            <a:extLst>
              <a:ext uri="{FF2B5EF4-FFF2-40B4-BE49-F238E27FC236}">
                <a16:creationId xmlns:a16="http://schemas.microsoft.com/office/drawing/2014/main" id="{CFB3542D-B2CE-684C-8705-B60939CD5644}"/>
              </a:ext>
            </a:extLst>
          </p:cNvPr>
          <p:cNvSpPr/>
          <p:nvPr userDrawn="1"/>
        </p:nvSpPr>
        <p:spPr>
          <a:xfrm>
            <a:off x="8376422" y="118368"/>
            <a:ext cx="3674481" cy="6610248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3" name="Rectangle 39">
            <a:extLst>
              <a:ext uri="{FF2B5EF4-FFF2-40B4-BE49-F238E27FC236}">
                <a16:creationId xmlns:a16="http://schemas.microsoft.com/office/drawing/2014/main" id="{3BC3E2CA-F3E4-B946-A862-E5649B965919}"/>
              </a:ext>
            </a:extLst>
          </p:cNvPr>
          <p:cNvSpPr/>
          <p:nvPr userDrawn="1"/>
        </p:nvSpPr>
        <p:spPr>
          <a:xfrm>
            <a:off x="6349241" y="118370"/>
            <a:ext cx="3463490" cy="6610249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21A7EABA-2369-0642-871D-312192B0F17F}"/>
              </a:ext>
            </a:extLst>
          </p:cNvPr>
          <p:cNvSpPr/>
          <p:nvPr userDrawn="1"/>
        </p:nvSpPr>
        <p:spPr>
          <a:xfrm>
            <a:off x="113723" y="132115"/>
            <a:ext cx="3640581" cy="6618532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5" name="Rectangle 39">
            <a:extLst>
              <a:ext uri="{FF2B5EF4-FFF2-40B4-BE49-F238E27FC236}">
                <a16:creationId xmlns:a16="http://schemas.microsoft.com/office/drawing/2014/main" id="{163D95A0-1322-844B-BE56-D4E07E45CC6E}"/>
              </a:ext>
            </a:extLst>
          </p:cNvPr>
          <p:cNvSpPr/>
          <p:nvPr userDrawn="1"/>
        </p:nvSpPr>
        <p:spPr>
          <a:xfrm>
            <a:off x="2323421" y="130750"/>
            <a:ext cx="3463490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20" b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6" name="Rectangle 39">
            <a:extLst>
              <a:ext uri="{FF2B5EF4-FFF2-40B4-BE49-F238E27FC236}">
                <a16:creationId xmlns:a16="http://schemas.microsoft.com/office/drawing/2014/main" id="{EAB5D1A8-60D7-8F4D-AB3B-0CBB7CD5B00A}"/>
              </a:ext>
            </a:extLst>
          </p:cNvPr>
          <p:cNvSpPr>
            <a:spLocks/>
          </p:cNvSpPr>
          <p:nvPr userDrawn="1"/>
        </p:nvSpPr>
        <p:spPr>
          <a:xfrm>
            <a:off x="4336331" y="107355"/>
            <a:ext cx="3465576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EDAB5E6-686B-E44D-93BE-82E3AA481A56}"/>
              </a:ext>
            </a:extLst>
          </p:cNvPr>
          <p:cNvSpPr/>
          <p:nvPr userDrawn="1"/>
        </p:nvSpPr>
        <p:spPr>
          <a:xfrm>
            <a:off x="1588" y="3347558"/>
            <a:ext cx="12188825" cy="369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58C4F4-D78A-4541-8CE7-E43B3923BF16}"/>
              </a:ext>
            </a:extLst>
          </p:cNvPr>
          <p:cNvSpPr txBox="1"/>
          <p:nvPr userDrawn="1"/>
        </p:nvSpPr>
        <p:spPr>
          <a:xfrm>
            <a:off x="334564" y="3322160"/>
            <a:ext cx="2312940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  <a:latin typeface="+mj-lt"/>
              </a:rPr>
              <a:t>ARIAL 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0296C4-CC40-2447-A26F-7DC1016B2FCC}"/>
              </a:ext>
            </a:extLst>
          </p:cNvPr>
          <p:cNvSpPr txBox="1"/>
          <p:nvPr userDrawn="1"/>
        </p:nvSpPr>
        <p:spPr>
          <a:xfrm>
            <a:off x="9066301" y="3322159"/>
            <a:ext cx="3011979" cy="461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81668F-CE8E-2643-B109-A785A6492A1B}"/>
              </a:ext>
            </a:extLst>
          </p:cNvPr>
          <p:cNvSpPr txBox="1"/>
          <p:nvPr userDrawn="1"/>
        </p:nvSpPr>
        <p:spPr>
          <a:xfrm>
            <a:off x="312229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DC21EB-94F0-B240-A58A-7759CC51B957}"/>
              </a:ext>
            </a:extLst>
          </p:cNvPr>
          <p:cNvSpPr txBox="1"/>
          <p:nvPr userDrawn="1"/>
        </p:nvSpPr>
        <p:spPr>
          <a:xfrm>
            <a:off x="515988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0106904-5D7A-DD49-A3A3-EEDD6C7B5E61}"/>
              </a:ext>
            </a:extLst>
          </p:cNvPr>
          <p:cNvSpPr txBox="1"/>
          <p:nvPr userDrawn="1"/>
        </p:nvSpPr>
        <p:spPr>
          <a:xfrm>
            <a:off x="7098348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</p:spTree>
    <p:extLst>
      <p:ext uri="{BB962C8B-B14F-4D97-AF65-F5344CB8AC3E}">
        <p14:creationId xmlns:p14="http://schemas.microsoft.com/office/powerpoint/2010/main" val="185134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22" grpId="0"/>
    </p:bld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0268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8797" y="-641259"/>
            <a:ext cx="13337634" cy="386805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38" y="3081211"/>
            <a:ext cx="2552324" cy="85184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607210" y="4401397"/>
            <a:ext cx="6977581" cy="867630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48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5B652E5-50FE-714D-8310-8E28DE55F6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7210" y="5269027"/>
            <a:ext cx="6977581" cy="635034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2664" b="0">
                <a:solidFill>
                  <a:schemeClr val="bg2"/>
                </a:solidFill>
              </a:defRPr>
            </a:lvl1pPr>
          </a:lstStyle>
          <a:p>
            <a:r>
              <a:rPr lang="en-US" sz="2664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Subtitle / Presenter’s Name, Title Case</a:t>
            </a:r>
          </a:p>
        </p:txBody>
      </p:sp>
    </p:spTree>
    <p:extLst>
      <p:ext uri="{BB962C8B-B14F-4D97-AF65-F5344CB8AC3E}">
        <p14:creationId xmlns:p14="http://schemas.microsoft.com/office/powerpoint/2010/main" val="378947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_Subhead_Bubbles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22BD7C0-B1AF-9D4F-99B5-3251A82163FC}"/>
              </a:ext>
            </a:extLst>
          </p:cNvPr>
          <p:cNvSpPr/>
          <p:nvPr userDrawn="1"/>
        </p:nvSpPr>
        <p:spPr>
          <a:xfrm>
            <a:off x="0" y="6321669"/>
            <a:ext cx="12192000" cy="536331"/>
          </a:xfrm>
          <a:prstGeom prst="rect">
            <a:avLst/>
          </a:prstGeom>
          <a:solidFill>
            <a:schemeClr val="bg1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79400" dist="38100" dir="16200000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68951B7-1835-A149-887F-F9322297B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2543" y="6321669"/>
            <a:ext cx="11736270" cy="536330"/>
          </a:xfrm>
          <a:prstGeom prst="rect">
            <a:avLst/>
          </a:prstGeom>
        </p:spPr>
        <p:txBody>
          <a:bodyPr anchor="ctr"/>
          <a:lstStyle>
            <a:lvl1pPr>
              <a:defRPr sz="1200" b="1" i="0">
                <a:solidFill>
                  <a:schemeClr val="accent1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5FA5B9-FF92-E44E-88EE-1D3553B15BC9}"/>
              </a:ext>
            </a:extLst>
          </p:cNvPr>
          <p:cNvCxnSpPr>
            <a:cxnSpLocks/>
          </p:cNvCxnSpPr>
          <p:nvPr userDrawn="1"/>
        </p:nvCxnSpPr>
        <p:spPr>
          <a:xfrm>
            <a:off x="11576204" y="6478154"/>
            <a:ext cx="0" cy="22336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3A316CA-73A6-7A47-B58D-F3CDF836CFFD}"/>
              </a:ext>
            </a:extLst>
          </p:cNvPr>
          <p:cNvSpPr txBox="1"/>
          <p:nvPr userDrawn="1"/>
        </p:nvSpPr>
        <p:spPr>
          <a:xfrm>
            <a:off x="10177444" y="6466724"/>
            <a:ext cx="133051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4E012FD2-64B6-7E4B-8A57-CD17A44D8FA5}" type="slidenum">
              <a:rPr lang="en-US" sz="1000" b="0" i="0" smtClean="0">
                <a:solidFill>
                  <a:schemeClr val="accent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000" b="0" i="0">
              <a:solidFill>
                <a:schemeClr val="accent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CC51603-B943-9748-9EBD-FE931F1D67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4" y="6375218"/>
            <a:ext cx="429233" cy="429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209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Header_Subhead_Bubbles">
    <p:bg>
      <p:bgPr>
        <a:solidFill>
          <a:srgbClr val="CF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Picture 14">
            <a:extLst>
              <a:ext uri="{FF2B5EF4-FFF2-40B4-BE49-F238E27FC236}">
                <a16:creationId xmlns:a16="http://schemas.microsoft.com/office/drawing/2014/main" id="{0462AF11-3560-4445-B3CB-90817C7910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7" name="Straight Connector 7"/>
          <p:cNvSpPr/>
          <p:nvPr/>
        </p:nvSpPr>
        <p:spPr>
          <a:xfrm>
            <a:off x="11576204" y="6478154"/>
            <a:ext cx="1" cy="223362"/>
          </a:xfrm>
          <a:prstGeom prst="line">
            <a:avLst/>
          </a:prstGeom>
          <a:ln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9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184844" y="6469756"/>
            <a:ext cx="323112" cy="240157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9" name="Picture 12" descr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3" y="6375217"/>
            <a:ext cx="429234" cy="42923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5066511"/>
      </p:ext>
    </p:extLst>
  </p:cSld>
  <p:clrMapOvr>
    <a:masterClrMapping/>
  </p:clrMapOvr>
  <p:transition spd="med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2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0" name="Google Shape;2380;p228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7" y="6168300"/>
            <a:ext cx="12195176" cy="6897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1" name="Google Shape;2381;p228"/>
          <p:cNvSpPr txBox="1">
            <a:spLocks noGrp="1"/>
          </p:cNvSpPr>
          <p:nvPr>
            <p:ph type="title"/>
          </p:nvPr>
        </p:nvSpPr>
        <p:spPr>
          <a:xfrm>
            <a:off x="533389" y="467150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382" name="Google Shape;2382;p228"/>
          <p:cNvSpPr txBox="1">
            <a:spLocks noGrp="1"/>
          </p:cNvSpPr>
          <p:nvPr>
            <p:ph type="subTitle" idx="1"/>
          </p:nvPr>
        </p:nvSpPr>
        <p:spPr>
          <a:xfrm>
            <a:off x="546317" y="945550"/>
            <a:ext cx="11180912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2383" name="Google Shape;2383;p228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7911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4" name="Google Shape;2384;p228"/>
          <p:cNvSpPr txBox="1">
            <a:spLocks noGrp="1"/>
          </p:cNvSpPr>
          <p:nvPr>
            <p:ph type="subTitle" idx="3"/>
          </p:nvPr>
        </p:nvSpPr>
        <p:spPr>
          <a:xfrm>
            <a:off x="6287138" y="1961475"/>
            <a:ext cx="5178148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5" name="Google Shape;2385;p228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6" name="Google Shape;2386;p228"/>
          <p:cNvCxnSpPr/>
          <p:nvPr/>
        </p:nvCxnSpPr>
        <p:spPr>
          <a:xfrm>
            <a:off x="11549145" y="654200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87" name="Google Shape;2387;p228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8" name="Google Shape;2388;p228"/>
          <p:cNvCxnSpPr/>
          <p:nvPr/>
        </p:nvCxnSpPr>
        <p:spPr>
          <a:xfrm>
            <a:off x="11099578" y="654205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89" name="Google Shape;2389;p22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1" y="6403039"/>
            <a:ext cx="412751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2390" name="Google Shape;2390;p228"/>
          <p:cNvSpPr txBox="1">
            <a:spLocks noGrp="1"/>
          </p:cNvSpPr>
          <p:nvPr>
            <p:ph type="subTitle" idx="4"/>
          </p:nvPr>
        </p:nvSpPr>
        <p:spPr>
          <a:xfrm>
            <a:off x="-1575" y="6168300"/>
            <a:ext cx="12195176" cy="68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924942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313692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985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 - No animation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151822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57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147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24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28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183084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37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203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08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91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9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99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9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30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3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36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16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092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9618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264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88737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830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77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942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48439338"/>
      </p:ext>
    </p:extLst>
  </p:cSld>
  <p:clrMapOvr>
    <a:masterClrMapping/>
  </p:clrMapOvr>
  <p:transition spd="med">
    <p:fade thruBlk="1"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942868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231953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8265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71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006451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01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725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320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336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4746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2724641"/>
      </p:ext>
    </p:extLst>
  </p:cSld>
  <p:clrMapOvr>
    <a:masterClrMapping/>
  </p:clrMapOvr>
  <p:transition spd="med">
    <p:fade thruBlk="1"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20451848"/>
      </p:ext>
    </p:extLst>
  </p:cSld>
  <p:clrMapOvr>
    <a:masterClrMapping/>
  </p:clrMapOvr>
  <p:transition spd="med">
    <p:fade thruBlk="1"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339825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178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06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1874969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6287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4981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4421882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105405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21862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2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1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7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8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373" lvl="2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29" lvl="3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289" lvl="4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747" lvl="5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203" lvl="6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661" lvl="7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118" lvl="8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419" lvl="2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91" lvl="3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365" lvl="4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837" lvl="5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310" lvl="6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782" lvl="7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255" lvl="8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10" Type="http://schemas.openxmlformats.org/officeDocument/2006/relationships/slideLayout" Target="../slideLayouts/slideLayout210.xml"/><Relationship Id="rId215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37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slideLayout" Target="../slideLayouts/slideLayout23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1.xml"/><Relationship Id="rId18" Type="http://schemas.openxmlformats.org/officeDocument/2006/relationships/slideLayout" Target="../slideLayouts/slideLayout256.xml"/><Relationship Id="rId26" Type="http://schemas.openxmlformats.org/officeDocument/2006/relationships/slideLayout" Target="../slideLayouts/slideLayout264.xml"/><Relationship Id="rId39" Type="http://schemas.openxmlformats.org/officeDocument/2006/relationships/slideLayout" Target="../slideLayouts/slideLayout277.xml"/><Relationship Id="rId21" Type="http://schemas.openxmlformats.org/officeDocument/2006/relationships/slideLayout" Target="../slideLayouts/slideLayout259.xml"/><Relationship Id="rId34" Type="http://schemas.openxmlformats.org/officeDocument/2006/relationships/slideLayout" Target="../slideLayouts/slideLayout272.xml"/><Relationship Id="rId42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240.xml"/><Relationship Id="rId16" Type="http://schemas.openxmlformats.org/officeDocument/2006/relationships/slideLayout" Target="../slideLayouts/slideLayout254.xml"/><Relationship Id="rId29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24" Type="http://schemas.openxmlformats.org/officeDocument/2006/relationships/slideLayout" Target="../slideLayouts/slideLayout262.xml"/><Relationship Id="rId32" Type="http://schemas.openxmlformats.org/officeDocument/2006/relationships/slideLayout" Target="../slideLayouts/slideLayout270.xml"/><Relationship Id="rId37" Type="http://schemas.openxmlformats.org/officeDocument/2006/relationships/slideLayout" Target="../slideLayouts/slideLayout275.xml"/><Relationship Id="rId40" Type="http://schemas.openxmlformats.org/officeDocument/2006/relationships/slideLayout" Target="../slideLayouts/slideLayout278.xml"/><Relationship Id="rId45" Type="http://schemas.openxmlformats.org/officeDocument/2006/relationships/image" Target="../media/image24.png"/><Relationship Id="rId5" Type="http://schemas.openxmlformats.org/officeDocument/2006/relationships/slideLayout" Target="../slideLayouts/slideLayout243.xml"/><Relationship Id="rId15" Type="http://schemas.openxmlformats.org/officeDocument/2006/relationships/slideLayout" Target="../slideLayouts/slideLayout253.xml"/><Relationship Id="rId23" Type="http://schemas.openxmlformats.org/officeDocument/2006/relationships/slideLayout" Target="../slideLayouts/slideLayout261.xml"/><Relationship Id="rId28" Type="http://schemas.openxmlformats.org/officeDocument/2006/relationships/slideLayout" Target="../slideLayouts/slideLayout266.xml"/><Relationship Id="rId36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48.xml"/><Relationship Id="rId19" Type="http://schemas.openxmlformats.org/officeDocument/2006/relationships/slideLayout" Target="../slideLayouts/slideLayout257.xml"/><Relationship Id="rId31" Type="http://schemas.openxmlformats.org/officeDocument/2006/relationships/slideLayout" Target="../slideLayouts/slideLayout269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slideLayout" Target="../slideLayouts/slideLayout252.xml"/><Relationship Id="rId22" Type="http://schemas.openxmlformats.org/officeDocument/2006/relationships/slideLayout" Target="../slideLayouts/slideLayout260.xml"/><Relationship Id="rId27" Type="http://schemas.openxmlformats.org/officeDocument/2006/relationships/slideLayout" Target="../slideLayouts/slideLayout265.xml"/><Relationship Id="rId30" Type="http://schemas.openxmlformats.org/officeDocument/2006/relationships/slideLayout" Target="../slideLayouts/slideLayout268.xml"/><Relationship Id="rId35" Type="http://schemas.openxmlformats.org/officeDocument/2006/relationships/slideLayout" Target="../slideLayouts/slideLayout273.xml"/><Relationship Id="rId43" Type="http://schemas.openxmlformats.org/officeDocument/2006/relationships/slideLayout" Target="../slideLayouts/slideLayout281.xml"/><Relationship Id="rId8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241.xml"/><Relationship Id="rId12" Type="http://schemas.openxmlformats.org/officeDocument/2006/relationships/slideLayout" Target="../slideLayouts/slideLayout250.xml"/><Relationship Id="rId17" Type="http://schemas.openxmlformats.org/officeDocument/2006/relationships/slideLayout" Target="../slideLayouts/slideLayout255.xml"/><Relationship Id="rId25" Type="http://schemas.openxmlformats.org/officeDocument/2006/relationships/slideLayout" Target="../slideLayouts/slideLayout263.xml"/><Relationship Id="rId33" Type="http://schemas.openxmlformats.org/officeDocument/2006/relationships/slideLayout" Target="../slideLayouts/slideLayout271.xml"/><Relationship Id="rId38" Type="http://schemas.openxmlformats.org/officeDocument/2006/relationships/slideLayout" Target="../slideLayouts/slideLayout276.xml"/><Relationship Id="rId20" Type="http://schemas.openxmlformats.org/officeDocument/2006/relationships/slideLayout" Target="../slideLayouts/slideLayout258.xml"/><Relationship Id="rId41" Type="http://schemas.openxmlformats.org/officeDocument/2006/relationships/slideLayout" Target="../slideLayouts/slideLayout27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9.xml"/><Relationship Id="rId13" Type="http://schemas.openxmlformats.org/officeDocument/2006/relationships/slideLayout" Target="../slideLayouts/slideLayout294.xml"/><Relationship Id="rId18" Type="http://schemas.openxmlformats.org/officeDocument/2006/relationships/slideLayout" Target="../slideLayouts/slideLayout299.xml"/><Relationship Id="rId26" Type="http://schemas.openxmlformats.org/officeDocument/2006/relationships/slideLayout" Target="../slideLayouts/slideLayout307.xml"/><Relationship Id="rId3" Type="http://schemas.openxmlformats.org/officeDocument/2006/relationships/slideLayout" Target="../slideLayouts/slideLayout284.xml"/><Relationship Id="rId21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288.xml"/><Relationship Id="rId12" Type="http://schemas.openxmlformats.org/officeDocument/2006/relationships/slideLayout" Target="../slideLayouts/slideLayout293.xml"/><Relationship Id="rId17" Type="http://schemas.openxmlformats.org/officeDocument/2006/relationships/slideLayout" Target="../slideLayouts/slideLayout298.xml"/><Relationship Id="rId25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83.xml"/><Relationship Id="rId16" Type="http://schemas.openxmlformats.org/officeDocument/2006/relationships/slideLayout" Target="../slideLayouts/slideLayout297.xml"/><Relationship Id="rId20" Type="http://schemas.openxmlformats.org/officeDocument/2006/relationships/slideLayout" Target="../slideLayouts/slideLayout301.xml"/><Relationship Id="rId29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24" Type="http://schemas.openxmlformats.org/officeDocument/2006/relationships/slideLayout" Target="../slideLayouts/slideLayout305.xml"/><Relationship Id="rId32" Type="http://schemas.openxmlformats.org/officeDocument/2006/relationships/image" Target="../media/image42.png"/><Relationship Id="rId5" Type="http://schemas.openxmlformats.org/officeDocument/2006/relationships/slideLayout" Target="../slideLayouts/slideLayout286.xml"/><Relationship Id="rId15" Type="http://schemas.openxmlformats.org/officeDocument/2006/relationships/slideLayout" Target="../slideLayouts/slideLayout296.xml"/><Relationship Id="rId23" Type="http://schemas.openxmlformats.org/officeDocument/2006/relationships/slideLayout" Target="../slideLayouts/slideLayout304.xml"/><Relationship Id="rId28" Type="http://schemas.openxmlformats.org/officeDocument/2006/relationships/slideLayout" Target="../slideLayouts/slideLayout309.xml"/><Relationship Id="rId10" Type="http://schemas.openxmlformats.org/officeDocument/2006/relationships/slideLayout" Target="../slideLayouts/slideLayout291.xml"/><Relationship Id="rId19" Type="http://schemas.openxmlformats.org/officeDocument/2006/relationships/slideLayout" Target="../slideLayouts/slideLayout300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95.xml"/><Relationship Id="rId22" Type="http://schemas.openxmlformats.org/officeDocument/2006/relationships/slideLayout" Target="../slideLayouts/slideLayout303.xml"/><Relationship Id="rId27" Type="http://schemas.openxmlformats.org/officeDocument/2006/relationships/slideLayout" Target="../slideLayouts/slideLayout308.xml"/><Relationship Id="rId30" Type="http://schemas.openxmlformats.org/officeDocument/2006/relationships/slideLayout" Target="../slideLayouts/slideLayout31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4.xml"/><Relationship Id="rId18" Type="http://schemas.openxmlformats.org/officeDocument/2006/relationships/slideLayout" Target="../slideLayouts/slideLayout329.xml"/><Relationship Id="rId26" Type="http://schemas.openxmlformats.org/officeDocument/2006/relationships/slideLayout" Target="../slideLayouts/slideLayout337.xml"/><Relationship Id="rId39" Type="http://schemas.openxmlformats.org/officeDocument/2006/relationships/slideLayout" Target="../slideLayouts/slideLayout350.xml"/><Relationship Id="rId21" Type="http://schemas.openxmlformats.org/officeDocument/2006/relationships/slideLayout" Target="../slideLayouts/slideLayout332.xml"/><Relationship Id="rId34" Type="http://schemas.openxmlformats.org/officeDocument/2006/relationships/slideLayout" Target="../slideLayouts/slideLayout345.xml"/><Relationship Id="rId42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18.xml"/><Relationship Id="rId2" Type="http://schemas.openxmlformats.org/officeDocument/2006/relationships/slideLayout" Target="../slideLayouts/slideLayout313.xml"/><Relationship Id="rId16" Type="http://schemas.openxmlformats.org/officeDocument/2006/relationships/slideLayout" Target="../slideLayouts/slideLayout327.xml"/><Relationship Id="rId29" Type="http://schemas.openxmlformats.org/officeDocument/2006/relationships/slideLayout" Target="../slideLayouts/slideLayout340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24" Type="http://schemas.openxmlformats.org/officeDocument/2006/relationships/slideLayout" Target="../slideLayouts/slideLayout335.xml"/><Relationship Id="rId32" Type="http://schemas.openxmlformats.org/officeDocument/2006/relationships/slideLayout" Target="../slideLayouts/slideLayout343.xml"/><Relationship Id="rId37" Type="http://schemas.openxmlformats.org/officeDocument/2006/relationships/slideLayout" Target="../slideLayouts/slideLayout348.xml"/><Relationship Id="rId40" Type="http://schemas.openxmlformats.org/officeDocument/2006/relationships/slideLayout" Target="../slideLayouts/slideLayout351.xml"/><Relationship Id="rId45" Type="http://schemas.openxmlformats.org/officeDocument/2006/relationships/theme" Target="../theme/theme5.xml"/><Relationship Id="rId5" Type="http://schemas.openxmlformats.org/officeDocument/2006/relationships/slideLayout" Target="../slideLayouts/slideLayout316.xml"/><Relationship Id="rId15" Type="http://schemas.openxmlformats.org/officeDocument/2006/relationships/slideLayout" Target="../slideLayouts/slideLayout326.xml"/><Relationship Id="rId23" Type="http://schemas.openxmlformats.org/officeDocument/2006/relationships/slideLayout" Target="../slideLayouts/slideLayout334.xml"/><Relationship Id="rId28" Type="http://schemas.openxmlformats.org/officeDocument/2006/relationships/slideLayout" Target="../slideLayouts/slideLayout339.xml"/><Relationship Id="rId36" Type="http://schemas.openxmlformats.org/officeDocument/2006/relationships/slideLayout" Target="../slideLayouts/slideLayout347.xml"/><Relationship Id="rId10" Type="http://schemas.openxmlformats.org/officeDocument/2006/relationships/slideLayout" Target="../slideLayouts/slideLayout321.xml"/><Relationship Id="rId19" Type="http://schemas.openxmlformats.org/officeDocument/2006/relationships/slideLayout" Target="../slideLayouts/slideLayout330.xml"/><Relationship Id="rId31" Type="http://schemas.openxmlformats.org/officeDocument/2006/relationships/slideLayout" Target="../slideLayouts/slideLayout342.xml"/><Relationship Id="rId44" Type="http://schemas.openxmlformats.org/officeDocument/2006/relationships/slideLayout" Target="../slideLayouts/slideLayout355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Relationship Id="rId14" Type="http://schemas.openxmlformats.org/officeDocument/2006/relationships/slideLayout" Target="../slideLayouts/slideLayout325.xml"/><Relationship Id="rId22" Type="http://schemas.openxmlformats.org/officeDocument/2006/relationships/slideLayout" Target="../slideLayouts/slideLayout333.xml"/><Relationship Id="rId27" Type="http://schemas.openxmlformats.org/officeDocument/2006/relationships/slideLayout" Target="../slideLayouts/slideLayout338.xml"/><Relationship Id="rId30" Type="http://schemas.openxmlformats.org/officeDocument/2006/relationships/slideLayout" Target="../slideLayouts/slideLayout341.xml"/><Relationship Id="rId35" Type="http://schemas.openxmlformats.org/officeDocument/2006/relationships/slideLayout" Target="../slideLayouts/slideLayout346.xml"/><Relationship Id="rId43" Type="http://schemas.openxmlformats.org/officeDocument/2006/relationships/slideLayout" Target="../slideLayouts/slideLayout354.xml"/><Relationship Id="rId8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14.xml"/><Relationship Id="rId12" Type="http://schemas.openxmlformats.org/officeDocument/2006/relationships/slideLayout" Target="../slideLayouts/slideLayout323.xml"/><Relationship Id="rId17" Type="http://schemas.openxmlformats.org/officeDocument/2006/relationships/slideLayout" Target="../slideLayouts/slideLayout328.xml"/><Relationship Id="rId25" Type="http://schemas.openxmlformats.org/officeDocument/2006/relationships/slideLayout" Target="../slideLayouts/slideLayout336.xml"/><Relationship Id="rId33" Type="http://schemas.openxmlformats.org/officeDocument/2006/relationships/slideLayout" Target="../slideLayouts/slideLayout344.xml"/><Relationship Id="rId38" Type="http://schemas.openxmlformats.org/officeDocument/2006/relationships/slideLayout" Target="../slideLayouts/slideLayout349.xml"/><Relationship Id="rId46" Type="http://schemas.openxmlformats.org/officeDocument/2006/relationships/image" Target="../media/image24.png"/><Relationship Id="rId20" Type="http://schemas.openxmlformats.org/officeDocument/2006/relationships/slideLayout" Target="../slideLayouts/slideLayout331.xml"/><Relationship Id="rId41" Type="http://schemas.openxmlformats.org/officeDocument/2006/relationships/slideLayout" Target="../slideLayouts/slideLayout3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7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449" r:id="rId1"/>
    <p:sldLayoutId id="2147485450" r:id="rId2"/>
    <p:sldLayoutId id="2147485451" r:id="rId3"/>
    <p:sldLayoutId id="2147485452" r:id="rId4"/>
    <p:sldLayoutId id="2147485453" r:id="rId5"/>
    <p:sldLayoutId id="2147485454" r:id="rId6"/>
    <p:sldLayoutId id="2147485455" r:id="rId7"/>
    <p:sldLayoutId id="2147485456" r:id="rId8"/>
    <p:sldLayoutId id="2147485458" r:id="rId9"/>
    <p:sldLayoutId id="2147485459" r:id="rId10"/>
    <p:sldLayoutId id="2147485460" r:id="rId11"/>
    <p:sldLayoutId id="2147485461" r:id="rId12"/>
    <p:sldLayoutId id="2147485462" r:id="rId13"/>
    <p:sldLayoutId id="2147485463" r:id="rId14"/>
    <p:sldLayoutId id="2147485464" r:id="rId15"/>
    <p:sldLayoutId id="2147485465" r:id="rId16"/>
    <p:sldLayoutId id="2147485466" r:id="rId17"/>
    <p:sldLayoutId id="2147485467" r:id="rId18"/>
    <p:sldLayoutId id="2147485468" r:id="rId19"/>
    <p:sldLayoutId id="2147485469" r:id="rId20"/>
    <p:sldLayoutId id="2147485470" r:id="rId21"/>
    <p:sldLayoutId id="2147485471" r:id="rId22"/>
    <p:sldLayoutId id="2147485472" r:id="rId23"/>
    <p:sldLayoutId id="2147485473" r:id="rId24"/>
    <p:sldLayoutId id="2147485474" r:id="rId25"/>
    <p:sldLayoutId id="2147485475" r:id="rId26"/>
    <p:sldLayoutId id="2147485476" r:id="rId27"/>
    <p:sldLayoutId id="2147485477" r:id="rId28"/>
    <p:sldLayoutId id="2147485479" r:id="rId29"/>
    <p:sldLayoutId id="2147485480" r:id="rId30"/>
    <p:sldLayoutId id="2147485481" r:id="rId31"/>
    <p:sldLayoutId id="2147487057" r:id="rId32"/>
    <p:sldLayoutId id="2147487058" r:id="rId33"/>
    <p:sldLayoutId id="2147487059" r:id="rId34"/>
    <p:sldLayoutId id="2147487060" r:id="rId35"/>
    <p:sldLayoutId id="2147487061" r:id="rId36"/>
    <p:sldLayoutId id="2147487062" r:id="rId37"/>
    <p:sldLayoutId id="2147487063" r:id="rId38"/>
    <p:sldLayoutId id="2147487064" r:id="rId39"/>
    <p:sldLayoutId id="2147487065" r:id="rId40"/>
    <p:sldLayoutId id="2147487066" r:id="rId41"/>
    <p:sldLayoutId id="2147487067" r:id="rId42"/>
    <p:sldLayoutId id="2147487068" r:id="rId43"/>
    <p:sldLayoutId id="2147487069" r:id="rId44"/>
    <p:sldLayoutId id="2147487070" r:id="rId45"/>
    <p:sldLayoutId id="2147487071" r:id="rId46"/>
    <p:sldLayoutId id="2147485082" r:id="rId47"/>
    <p:sldLayoutId id="2147485083" r:id="rId48"/>
    <p:sldLayoutId id="2147485084" r:id="rId49"/>
    <p:sldLayoutId id="2147485085" r:id="rId50"/>
    <p:sldLayoutId id="2147485086" r:id="rId51"/>
    <p:sldLayoutId id="2147485087" r:id="rId52"/>
    <p:sldLayoutId id="2147485088" r:id="rId53"/>
    <p:sldLayoutId id="2147485089" r:id="rId54"/>
    <p:sldLayoutId id="2147485090" r:id="rId55"/>
    <p:sldLayoutId id="2147485091" r:id="rId56"/>
    <p:sldLayoutId id="2147485092" r:id="rId57"/>
    <p:sldLayoutId id="2147485093" r:id="rId58"/>
    <p:sldLayoutId id="2147485094" r:id="rId59"/>
    <p:sldLayoutId id="2147485095" r:id="rId60"/>
    <p:sldLayoutId id="2147485096" r:id="rId61"/>
    <p:sldLayoutId id="2147485097" r:id="rId62"/>
    <p:sldLayoutId id="2147487072" r:id="rId63"/>
    <p:sldLayoutId id="2147487073" r:id="rId64"/>
    <p:sldLayoutId id="2147487074" r:id="rId65"/>
    <p:sldLayoutId id="2147487075" r:id="rId66"/>
    <p:sldLayoutId id="2147487076" r:id="rId67"/>
    <p:sldLayoutId id="2147487077" r:id="rId68"/>
    <p:sldLayoutId id="2147487078" r:id="rId69"/>
    <p:sldLayoutId id="2147487079" r:id="rId70"/>
    <p:sldLayoutId id="2147487080" r:id="rId71"/>
    <p:sldLayoutId id="2147487081" r:id="rId72"/>
    <p:sldLayoutId id="2147487082" r:id="rId73"/>
    <p:sldLayoutId id="2147487083" r:id="rId74"/>
    <p:sldLayoutId id="2147487084" r:id="rId75"/>
    <p:sldLayoutId id="2147487085" r:id="rId76"/>
    <p:sldLayoutId id="2147487086" r:id="rId77"/>
    <p:sldLayoutId id="2147487087" r:id="rId78"/>
    <p:sldLayoutId id="2147487088" r:id="rId79"/>
    <p:sldLayoutId id="2147485098" r:id="rId80"/>
    <p:sldLayoutId id="2147485099" r:id="rId81"/>
    <p:sldLayoutId id="2147485100" r:id="rId82"/>
    <p:sldLayoutId id="2147485101" r:id="rId83"/>
    <p:sldLayoutId id="2147485102" r:id="rId84"/>
    <p:sldLayoutId id="2147485103" r:id="rId85"/>
    <p:sldLayoutId id="2147485104" r:id="rId86"/>
    <p:sldLayoutId id="2147485105" r:id="rId87"/>
    <p:sldLayoutId id="2147485106" r:id="rId88"/>
    <p:sldLayoutId id="2147485107" r:id="rId89"/>
    <p:sldLayoutId id="2147485108" r:id="rId90"/>
    <p:sldLayoutId id="2147485117" r:id="rId91"/>
    <p:sldLayoutId id="2147485118" r:id="rId92"/>
    <p:sldLayoutId id="2147485119" r:id="rId93"/>
    <p:sldLayoutId id="2147485120" r:id="rId94"/>
    <p:sldLayoutId id="2147485121" r:id="rId95"/>
    <p:sldLayoutId id="2147485122" r:id="rId96"/>
    <p:sldLayoutId id="2147485405" r:id="rId97"/>
    <p:sldLayoutId id="2147485406" r:id="rId98"/>
    <p:sldLayoutId id="2147485407" r:id="rId99"/>
    <p:sldLayoutId id="2147485408" r:id="rId100"/>
    <p:sldLayoutId id="2147485409" r:id="rId101"/>
    <p:sldLayoutId id="2147485410" r:id="rId102"/>
    <p:sldLayoutId id="2147485411" r:id="rId103"/>
    <p:sldLayoutId id="2147485412" r:id="rId104"/>
    <p:sldLayoutId id="2147485413" r:id="rId105"/>
    <p:sldLayoutId id="2147485414" r:id="rId106"/>
    <p:sldLayoutId id="2147485415" r:id="rId107"/>
    <p:sldLayoutId id="2147485416" r:id="rId108"/>
    <p:sldLayoutId id="2147485417" r:id="rId109"/>
    <p:sldLayoutId id="2147485418" r:id="rId110"/>
    <p:sldLayoutId id="2147485419" r:id="rId111"/>
    <p:sldLayoutId id="2147485420" r:id="rId112"/>
    <p:sldLayoutId id="2147485421" r:id="rId113"/>
    <p:sldLayoutId id="2147485422" r:id="rId114"/>
    <p:sldLayoutId id="2147485423" r:id="rId115"/>
    <p:sldLayoutId id="2147485424" r:id="rId116"/>
    <p:sldLayoutId id="2147485425" r:id="rId117"/>
    <p:sldLayoutId id="2147485426" r:id="rId118"/>
    <p:sldLayoutId id="2147485427" r:id="rId119"/>
    <p:sldLayoutId id="2147485428" r:id="rId120"/>
    <p:sldLayoutId id="2147485429" r:id="rId121"/>
    <p:sldLayoutId id="2147485430" r:id="rId122"/>
    <p:sldLayoutId id="2147485431" r:id="rId123"/>
    <p:sldLayoutId id="2147485432" r:id="rId124"/>
    <p:sldLayoutId id="2147485433" r:id="rId125"/>
    <p:sldLayoutId id="2147485434" r:id="rId126"/>
    <p:sldLayoutId id="2147485435" r:id="rId127"/>
    <p:sldLayoutId id="2147485436" r:id="rId128"/>
    <p:sldLayoutId id="2147485437" r:id="rId129"/>
    <p:sldLayoutId id="2147483716" r:id="rId130"/>
    <p:sldLayoutId id="2147483717" r:id="rId131"/>
    <p:sldLayoutId id="2147483718" r:id="rId132"/>
    <p:sldLayoutId id="2147483720" r:id="rId133"/>
    <p:sldLayoutId id="2147483721" r:id="rId134"/>
    <p:sldLayoutId id="2147483722" r:id="rId135"/>
    <p:sldLayoutId id="2147483723" r:id="rId136"/>
    <p:sldLayoutId id="2147483725" r:id="rId137"/>
    <p:sldLayoutId id="2147483726" r:id="rId138"/>
    <p:sldLayoutId id="2147483727" r:id="rId139"/>
    <p:sldLayoutId id="2147483728" r:id="rId140"/>
    <p:sldLayoutId id="2147483729" r:id="rId141"/>
    <p:sldLayoutId id="2147483730" r:id="rId142"/>
    <p:sldLayoutId id="2147483731" r:id="rId143"/>
    <p:sldLayoutId id="2147487111" r:id="rId144"/>
    <p:sldLayoutId id="2147487112" r:id="rId145"/>
    <p:sldLayoutId id="2147487113" r:id="rId146"/>
    <p:sldLayoutId id="2147487114" r:id="rId147"/>
    <p:sldLayoutId id="2147487115" r:id="rId148"/>
    <p:sldLayoutId id="2147487116" r:id="rId149"/>
    <p:sldLayoutId id="2147487117" r:id="rId150"/>
    <p:sldLayoutId id="2147487118" r:id="rId151"/>
    <p:sldLayoutId id="2147487119" r:id="rId152"/>
    <p:sldLayoutId id="2147487120" r:id="rId153"/>
    <p:sldLayoutId id="2147487121" r:id="rId154"/>
    <p:sldLayoutId id="2147487122" r:id="rId155"/>
    <p:sldLayoutId id="2147487123" r:id="rId156"/>
    <p:sldLayoutId id="2147487124" r:id="rId157"/>
    <p:sldLayoutId id="2147487125" r:id="rId158"/>
    <p:sldLayoutId id="2147487126" r:id="rId159"/>
    <p:sldLayoutId id="2147483748" r:id="rId160"/>
    <p:sldLayoutId id="2147487127" r:id="rId161"/>
    <p:sldLayoutId id="2147485482" r:id="rId162"/>
    <p:sldLayoutId id="2147485483" r:id="rId163"/>
    <p:sldLayoutId id="2147485484" r:id="rId164"/>
    <p:sldLayoutId id="2147487089" r:id="rId165"/>
    <p:sldLayoutId id="2147487090" r:id="rId166"/>
    <p:sldLayoutId id="2147487091" r:id="rId167"/>
    <p:sldLayoutId id="2147487092" r:id="rId168"/>
    <p:sldLayoutId id="2147487093" r:id="rId169"/>
    <p:sldLayoutId id="2147487094" r:id="rId170"/>
    <p:sldLayoutId id="2147487095" r:id="rId171"/>
    <p:sldLayoutId id="2147487097" r:id="rId172"/>
    <p:sldLayoutId id="2147487098" r:id="rId173"/>
    <p:sldLayoutId id="2147487099" r:id="rId174"/>
    <p:sldLayoutId id="2147487100" r:id="rId175"/>
    <p:sldLayoutId id="2147487101" r:id="rId176"/>
    <p:sldLayoutId id="2147487102" r:id="rId177"/>
    <p:sldLayoutId id="2147487103" r:id="rId178"/>
    <p:sldLayoutId id="2147487104" r:id="rId179"/>
    <p:sldLayoutId id="2147487105" r:id="rId180"/>
    <p:sldLayoutId id="2147487106" r:id="rId181"/>
    <p:sldLayoutId id="2147487107" r:id="rId182"/>
    <p:sldLayoutId id="2147487096" r:id="rId183"/>
    <p:sldLayoutId id="2147485123" r:id="rId184"/>
    <p:sldLayoutId id="2147485124" r:id="rId185"/>
    <p:sldLayoutId id="2147485125" r:id="rId186"/>
    <p:sldLayoutId id="2147485126" r:id="rId187"/>
    <p:sldLayoutId id="2147485109" r:id="rId188"/>
    <p:sldLayoutId id="2147485110" r:id="rId189"/>
    <p:sldLayoutId id="2147485111" r:id="rId190"/>
    <p:sldLayoutId id="2147485112" r:id="rId191"/>
    <p:sldLayoutId id="2147485113" r:id="rId192"/>
    <p:sldLayoutId id="2147485114" r:id="rId193"/>
    <p:sldLayoutId id="2147485115" r:id="rId194"/>
    <p:sldLayoutId id="2147485438" r:id="rId195"/>
    <p:sldLayoutId id="2147485439" r:id="rId196"/>
    <p:sldLayoutId id="2147485440" r:id="rId197"/>
    <p:sldLayoutId id="2147485441" r:id="rId198"/>
    <p:sldLayoutId id="2147485442" r:id="rId199"/>
    <p:sldLayoutId id="2147485443" r:id="rId200"/>
    <p:sldLayoutId id="2147485444" r:id="rId201"/>
    <p:sldLayoutId id="2147485445" r:id="rId202"/>
    <p:sldLayoutId id="2147485446" r:id="rId203"/>
    <p:sldLayoutId id="2147485447" r:id="rId204"/>
    <p:sldLayoutId id="2147485448" r:id="rId205"/>
    <p:sldLayoutId id="2147487128" r:id="rId206"/>
    <p:sldLayoutId id="2147487129" r:id="rId207"/>
    <p:sldLayoutId id="2147487130" r:id="rId208"/>
    <p:sldLayoutId id="2147487131" r:id="rId209"/>
    <p:sldLayoutId id="2147487132" r:id="rId210"/>
    <p:sldLayoutId id="2147487133" r:id="rId211"/>
    <p:sldLayoutId id="2147487040" r:id="rId212"/>
    <p:sldLayoutId id="2147487041" r:id="rId213"/>
    <p:sldLayoutId id="2147487042" r:id="rId214"/>
    <p:sldLayoutId id="2147487043" r:id="rId215"/>
    <p:sldLayoutId id="2147487255" r:id="rId216"/>
  </p:sldLayoutIdLst>
  <p:transition spd="med">
    <p:fade thruBlk="1"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Confidential  |  2020	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3787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7654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26542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4" r:id="rId1"/>
    <p:sldLayoutId id="2147485583" r:id="rId2"/>
    <p:sldLayoutId id="2147485584" r:id="rId3"/>
    <p:sldLayoutId id="2147485585" r:id="rId4"/>
    <p:sldLayoutId id="2147485227" r:id="rId5"/>
    <p:sldLayoutId id="2147485228" r:id="rId6"/>
    <p:sldLayoutId id="2147485230" r:id="rId7"/>
    <p:sldLayoutId id="2147485231" r:id="rId8"/>
    <p:sldLayoutId id="2147485246" r:id="rId9"/>
    <p:sldLayoutId id="2147485248" r:id="rId10"/>
    <p:sldLayoutId id="2147485249" r:id="rId11"/>
    <p:sldLayoutId id="2147485250" r:id="rId12"/>
    <p:sldLayoutId id="2147487054" r:id="rId13"/>
    <p:sldLayoutId id="2147487055" r:id="rId14"/>
    <p:sldLayoutId id="2147487056" r:id="rId15"/>
    <p:sldLayoutId id="2147485580" r:id="rId16"/>
    <p:sldLayoutId id="2147485535" r:id="rId17"/>
    <p:sldLayoutId id="2147485536" r:id="rId18"/>
    <p:sldLayoutId id="2147485537" r:id="rId19"/>
    <p:sldLayoutId id="2147485589" r:id="rId20"/>
    <p:sldLayoutId id="2147485541" r:id="rId21"/>
    <p:sldLayoutId id="2147485236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091057" y="6464554"/>
            <a:ext cx="20029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 | </a:t>
            </a:r>
            <a:fld id="{C3C623EA-CD16-E442-AC01-D640FC63C9A8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8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59" r:id="rId1"/>
    <p:sldLayoutId id="2147486960" r:id="rId2"/>
    <p:sldLayoutId id="2147486961" r:id="rId3"/>
    <p:sldLayoutId id="2147486962" r:id="rId4"/>
    <p:sldLayoutId id="2147486963" r:id="rId5"/>
    <p:sldLayoutId id="2147486964" r:id="rId6"/>
    <p:sldLayoutId id="2147486965" r:id="rId7"/>
    <p:sldLayoutId id="2147486966" r:id="rId8"/>
    <p:sldLayoutId id="2147486967" r:id="rId9"/>
    <p:sldLayoutId id="2147486968" r:id="rId10"/>
    <p:sldLayoutId id="2147486969" r:id="rId11"/>
    <p:sldLayoutId id="2147486970" r:id="rId12"/>
    <p:sldLayoutId id="2147486971" r:id="rId13"/>
    <p:sldLayoutId id="2147486972" r:id="rId14"/>
    <p:sldLayoutId id="2147486973" r:id="rId15"/>
    <p:sldLayoutId id="2147486974" r:id="rId16"/>
    <p:sldLayoutId id="2147486975" r:id="rId17"/>
    <p:sldLayoutId id="2147486976" r:id="rId18"/>
    <p:sldLayoutId id="2147486977" r:id="rId19"/>
    <p:sldLayoutId id="2147486978" r:id="rId20"/>
    <p:sldLayoutId id="2147486979" r:id="rId21"/>
    <p:sldLayoutId id="2147486980" r:id="rId22"/>
    <p:sldLayoutId id="2147486981" r:id="rId23"/>
    <p:sldLayoutId id="2147486982" r:id="rId24"/>
    <p:sldLayoutId id="2147486983" r:id="rId25"/>
    <p:sldLayoutId id="2147486984" r:id="rId26"/>
    <p:sldLayoutId id="2147486985" r:id="rId27"/>
    <p:sldLayoutId id="2147486986" r:id="rId28"/>
    <p:sldLayoutId id="2147486987" r:id="rId29"/>
    <p:sldLayoutId id="2147486988" r:id="rId30"/>
    <p:sldLayoutId id="2147486989" r:id="rId31"/>
    <p:sldLayoutId id="2147486990" r:id="rId32"/>
    <p:sldLayoutId id="2147486991" r:id="rId33"/>
    <p:sldLayoutId id="2147486992" r:id="rId34"/>
    <p:sldLayoutId id="2147486993" r:id="rId35"/>
    <p:sldLayoutId id="2147486994" r:id="rId36"/>
    <p:sldLayoutId id="2147486995" r:id="rId37"/>
    <p:sldLayoutId id="2147486996" r:id="rId38"/>
    <p:sldLayoutId id="2147486997" r:id="rId39"/>
    <p:sldLayoutId id="2147486998" r:id="rId40"/>
    <p:sldLayoutId id="2147486999" r:id="rId41"/>
    <p:sldLayoutId id="2147487000" r:id="rId42"/>
    <p:sldLayoutId id="2147487001" r:id="rId4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  |  2020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9463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9145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7366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49" r:id="rId1"/>
    <p:sldLayoutId id="2147487250" r:id="rId2"/>
    <p:sldLayoutId id="2147487251" r:id="rId3"/>
    <p:sldLayoutId id="2147487252" r:id="rId4"/>
    <p:sldLayoutId id="2147487138" r:id="rId5"/>
    <p:sldLayoutId id="2147487139" r:id="rId6"/>
    <p:sldLayoutId id="2147487253" r:id="rId7"/>
    <p:sldLayoutId id="2147487140" r:id="rId8"/>
    <p:sldLayoutId id="2147487141" r:id="rId9"/>
    <p:sldLayoutId id="2147484352" r:id="rId10"/>
    <p:sldLayoutId id="2147487142" r:id="rId11"/>
    <p:sldLayoutId id="2147487143" r:id="rId12"/>
    <p:sldLayoutId id="2147487144" r:id="rId13"/>
    <p:sldLayoutId id="2147487145" r:id="rId14"/>
    <p:sldLayoutId id="2147487146" r:id="rId15"/>
    <p:sldLayoutId id="2147487147" r:id="rId16"/>
    <p:sldLayoutId id="2147487148" r:id="rId17"/>
    <p:sldLayoutId id="2147487199" r:id="rId18"/>
    <p:sldLayoutId id="2147487200" r:id="rId19"/>
    <p:sldLayoutId id="2147487201" r:id="rId20"/>
    <p:sldLayoutId id="2147487135" r:id="rId21"/>
    <p:sldLayoutId id="2147483982" r:id="rId22"/>
    <p:sldLayoutId id="2147487203" r:id="rId23"/>
    <p:sldLayoutId id="2147487204" r:id="rId24"/>
    <p:sldLayoutId id="2147487165" r:id="rId25"/>
    <p:sldLayoutId id="2147487166" r:id="rId26"/>
    <p:sldLayoutId id="2147487167" r:id="rId27"/>
    <p:sldLayoutId id="2147487168" r:id="rId28"/>
    <p:sldLayoutId id="2147487169" r:id="rId29"/>
    <p:sldLayoutId id="2147484300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 vert="horz" lIns="217490" tIns="108745" rIns="217490" bIns="108745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 vert="horz" lIns="217490" tIns="108745" rIns="217490" bIns="108745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135017" y="6464554"/>
            <a:ext cx="18646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6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566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4302" r:id="rId3"/>
    <p:sldLayoutId id="2147484315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7223" r:id="rId19"/>
    <p:sldLayoutId id="2147487224" r:id="rId20"/>
    <p:sldLayoutId id="2147487225" r:id="rId21"/>
    <p:sldLayoutId id="2147487226" r:id="rId22"/>
    <p:sldLayoutId id="2147487227" r:id="rId23"/>
    <p:sldLayoutId id="2147487228" r:id="rId24"/>
    <p:sldLayoutId id="2147487229" r:id="rId25"/>
    <p:sldLayoutId id="2147487230" r:id="rId26"/>
    <p:sldLayoutId id="2147487231" r:id="rId27"/>
    <p:sldLayoutId id="2147487232" r:id="rId28"/>
    <p:sldLayoutId id="2147487233" r:id="rId29"/>
    <p:sldLayoutId id="2147487234" r:id="rId30"/>
    <p:sldLayoutId id="2147487235" r:id="rId31"/>
    <p:sldLayoutId id="2147487236" r:id="rId32"/>
    <p:sldLayoutId id="2147487237" r:id="rId33"/>
    <p:sldLayoutId id="2147487238" r:id="rId34"/>
    <p:sldLayoutId id="2147484006" r:id="rId35"/>
    <p:sldLayoutId id="2147487240" r:id="rId36"/>
    <p:sldLayoutId id="2147487241" r:id="rId37"/>
    <p:sldLayoutId id="2147487242" r:id="rId38"/>
    <p:sldLayoutId id="2147487243" r:id="rId39"/>
    <p:sldLayoutId id="2147487244" r:id="rId40"/>
    <p:sldLayoutId id="2147487245" r:id="rId41"/>
    <p:sldLayoutId id="2147487246" r:id="rId42"/>
    <p:sldLayoutId id="2147487247" r:id="rId43"/>
    <p:sldLayoutId id="2147483900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84">
            <a:extLst>
              <a:ext uri="{FF2B5EF4-FFF2-40B4-BE49-F238E27FC236}">
                <a16:creationId xmlns:a16="http://schemas.microsoft.com/office/drawing/2014/main" id="{B77F95F1-FC14-4D26-8B38-03C449DDC53E}"/>
              </a:ext>
            </a:extLst>
          </p:cNvPr>
          <p:cNvGrpSpPr/>
          <p:nvPr/>
        </p:nvGrpSpPr>
        <p:grpSpPr>
          <a:xfrm>
            <a:off x="168143" y="1702527"/>
            <a:ext cx="5326966" cy="3619077"/>
            <a:chOff x="1744394" y="1702527"/>
            <a:chExt cx="5326966" cy="361907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591EBA1-2459-414B-9231-FCCBC2AE9F05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1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E45F8B8A-9710-4949-A45D-E5B56DCE3663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B0B92D9-0731-5248-8DD9-4ED6B25895A8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DCE6420D-D1F2-42A7-8BF4-BC6D8224FF8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23" name="Arrow: Up-Down 22">
                <a:extLst>
                  <a:ext uri="{FF2B5EF4-FFF2-40B4-BE49-F238E27FC236}">
                    <a16:creationId xmlns:a16="http://schemas.microsoft.com/office/drawing/2014/main" id="{5FEB1230-B551-44D3-B41C-BE596B676651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A63DA23-7B21-4615-BCB0-07ACEF7C2234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C7852AD7-8ECB-44DF-8F4F-70313A738BB9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A54B63BB-3B03-4051-9028-878BB92BA5B5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73" name="Rectangle: Rounded Corners 72">
                <a:extLst>
                  <a:ext uri="{FF2B5EF4-FFF2-40B4-BE49-F238E27FC236}">
                    <a16:creationId xmlns:a16="http://schemas.microsoft.com/office/drawing/2014/main" id="{54225798-1161-45DB-AC55-32AD36F2AA0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74" name="Arrow: Up-Down 73">
                <a:extLst>
                  <a:ext uri="{FF2B5EF4-FFF2-40B4-BE49-F238E27FC236}">
                    <a16:creationId xmlns:a16="http://schemas.microsoft.com/office/drawing/2014/main" id="{79A06B7D-93C0-49F2-B372-C42E90BE06BC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C5534C58-6056-466A-83C1-894003EC27DC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993184DE-D02B-495A-A112-F1886A01C2A3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5935214A-A82F-41BB-BC72-1D747966402B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E93D09DB-6702-4B77-B41D-88241AC3BFEC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79" name="Rectangle: Rounded Corners 78">
                <a:extLst>
                  <a:ext uri="{FF2B5EF4-FFF2-40B4-BE49-F238E27FC236}">
                    <a16:creationId xmlns:a16="http://schemas.microsoft.com/office/drawing/2014/main" id="{7B8E132C-0A26-42D5-95EB-F5A95103D3A9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80" name="Arrow: Up-Down 79">
                <a:extLst>
                  <a:ext uri="{FF2B5EF4-FFF2-40B4-BE49-F238E27FC236}">
                    <a16:creationId xmlns:a16="http://schemas.microsoft.com/office/drawing/2014/main" id="{C335085A-7E5E-47D9-AE0A-776A8D644EA0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A8975029-74B0-473D-B343-8280AD8F8CE2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1</a:t>
                </a:r>
              </a:p>
            </p:txBody>
          </p:sp>
        </p:grp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CB95F0C1-D190-4D4A-BA7A-3A4CB388F5E8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62D70EA-5407-4B7A-B8D8-523AFA3AF8B6}"/>
              </a:ext>
            </a:extLst>
          </p:cNvPr>
          <p:cNvGrpSpPr/>
          <p:nvPr/>
        </p:nvGrpSpPr>
        <p:grpSpPr>
          <a:xfrm>
            <a:off x="5953146" y="1693819"/>
            <a:ext cx="5326966" cy="3619077"/>
            <a:chOff x="1744394" y="1702527"/>
            <a:chExt cx="5326966" cy="3619077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9160422-7032-41B3-95DD-23AAED26A426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2</a:t>
              </a: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31D12E2-7369-4AEE-B1B5-D4FA242AB6AD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5D42D5C-2C45-4D8A-9CF2-59206A01DCA6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5C170594-3E2E-4B7D-8E30-964505FF3E5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103" name="Arrow: Up-Down 102">
                <a:extLst>
                  <a:ext uri="{FF2B5EF4-FFF2-40B4-BE49-F238E27FC236}">
                    <a16:creationId xmlns:a16="http://schemas.microsoft.com/office/drawing/2014/main" id="{AEB87120-2324-446C-B03D-1E27193963D9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77BBB38B-60B4-4377-8EE5-43E479E06E13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94789276-D8A2-46B8-8BA4-C12B696878C3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67FFA457-3A7D-432D-837D-C9003C26DD30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98" name="Rectangle: Rounded Corners 97">
                <a:extLst>
                  <a:ext uri="{FF2B5EF4-FFF2-40B4-BE49-F238E27FC236}">
                    <a16:creationId xmlns:a16="http://schemas.microsoft.com/office/drawing/2014/main" id="{656DBC7C-6F52-4EB1-B4B2-063BA0FDC3A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9" name="Arrow: Up-Down 98">
                <a:extLst>
                  <a:ext uri="{FF2B5EF4-FFF2-40B4-BE49-F238E27FC236}">
                    <a16:creationId xmlns:a16="http://schemas.microsoft.com/office/drawing/2014/main" id="{B962CD8B-97F6-4FEE-BA7D-BC95F7E9286B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DDC13174-773E-4654-B78C-F1F684FB7FFB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A95393C-E110-42D9-B717-21A1AF7F35B0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BF24D8D8-4143-4A50-842B-C62881928686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CB8B40DA-82E0-44D1-A3E1-1FC804C6B11E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94" name="Rectangle: Rounded Corners 93">
                <a:extLst>
                  <a:ext uri="{FF2B5EF4-FFF2-40B4-BE49-F238E27FC236}">
                    <a16:creationId xmlns:a16="http://schemas.microsoft.com/office/drawing/2014/main" id="{11EFA935-D492-4AC6-91F0-2A3A1809D7E8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5" name="Arrow: Up-Down 94">
                <a:extLst>
                  <a:ext uri="{FF2B5EF4-FFF2-40B4-BE49-F238E27FC236}">
                    <a16:creationId xmlns:a16="http://schemas.microsoft.com/office/drawing/2014/main" id="{853280E6-4D77-431F-8F31-01F1C94ED974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5F321B02-D5C6-4427-A239-F5E7956184A7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2</a:t>
                </a:r>
              </a:p>
            </p:txBody>
          </p:sp>
        </p:grp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BCE28F5-1DE7-474F-8627-914DACE3A2E7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5647274" y="2165287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026223" y="935676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CORTXv2 Cluster  with Storage Set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6B3D8EA5-1104-4B8E-8D34-FD685F1DCDBC}"/>
              </a:ext>
            </a:extLst>
          </p:cNvPr>
          <p:cNvCxnSpPr/>
          <p:nvPr/>
        </p:nvCxnSpPr>
        <p:spPr>
          <a:xfrm>
            <a:off x="11408227" y="3771230"/>
            <a:ext cx="3744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758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1591EBA1-2459-414B-9231-FCCBC2AE9F05}"/>
              </a:ext>
            </a:extLst>
          </p:cNvPr>
          <p:cNvSpPr/>
          <p:nvPr/>
        </p:nvSpPr>
        <p:spPr>
          <a:xfrm>
            <a:off x="535790" y="750419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1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45F8B8A-9710-4949-A45D-E5B56DCE3663}"/>
              </a:ext>
            </a:extLst>
          </p:cNvPr>
          <p:cNvGrpSpPr/>
          <p:nvPr/>
        </p:nvGrpSpPr>
        <p:grpSpPr>
          <a:xfrm>
            <a:off x="655032" y="1751899"/>
            <a:ext cx="1184365" cy="1217544"/>
            <a:chOff x="1863636" y="2076992"/>
            <a:chExt cx="1184365" cy="12175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B0B92D9-0731-5248-8DD9-4ED6B25895A8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1863636" y="2076992"/>
              <a:ext cx="1184365" cy="1217544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7852AD7-8ECB-44DF-8F4F-70313A738BB9}"/>
              </a:ext>
            </a:extLst>
          </p:cNvPr>
          <p:cNvGrpSpPr/>
          <p:nvPr/>
        </p:nvGrpSpPr>
        <p:grpSpPr>
          <a:xfrm>
            <a:off x="2235642" y="1747542"/>
            <a:ext cx="1184365" cy="1217540"/>
            <a:chOff x="1863636" y="2076992"/>
            <a:chExt cx="1184365" cy="121754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54B63BB-3B03-4051-9028-878BB92BA5B5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C5534C58-6056-466A-83C1-894003EC27DC}"/>
                </a:ext>
              </a:extLst>
            </p:cNvPr>
            <p:cNvSpPr/>
            <p:nvPr/>
          </p:nvSpPr>
          <p:spPr>
            <a:xfrm>
              <a:off x="1863636" y="2076992"/>
              <a:ext cx="1184365" cy="1217540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655032" y="1226074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935214A-A82F-41BB-BC72-1D747966402B}"/>
              </a:ext>
            </a:extLst>
          </p:cNvPr>
          <p:cNvGrpSpPr/>
          <p:nvPr/>
        </p:nvGrpSpPr>
        <p:grpSpPr>
          <a:xfrm>
            <a:off x="4523990" y="1735337"/>
            <a:ext cx="1184365" cy="1229742"/>
            <a:chOff x="1863636" y="2076992"/>
            <a:chExt cx="1184365" cy="1229742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93D09DB-6702-4B77-B41D-88241AC3BFEC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8975029-74B0-473D-B343-8280AD8F8CE2}"/>
                </a:ext>
              </a:extLst>
            </p:cNvPr>
            <p:cNvSpPr/>
            <p:nvPr/>
          </p:nvSpPr>
          <p:spPr>
            <a:xfrm>
              <a:off x="1863636" y="2076992"/>
              <a:ext cx="1184365" cy="1229742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1</a:t>
              </a:r>
            </a:p>
          </p:txBody>
        </p:sp>
      </p:grp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B95F0C1-D190-4D4A-BA7A-3A4CB388F5E8}"/>
              </a:ext>
            </a:extLst>
          </p:cNvPr>
          <p:cNvCxnSpPr>
            <a:cxnSpLocks/>
          </p:cNvCxnSpPr>
          <p:nvPr/>
        </p:nvCxnSpPr>
        <p:spPr>
          <a:xfrm>
            <a:off x="3615944" y="2830014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89160422-7032-41B3-95DD-23AAED26A426}"/>
              </a:ext>
            </a:extLst>
          </p:cNvPr>
          <p:cNvSpPr/>
          <p:nvPr/>
        </p:nvSpPr>
        <p:spPr>
          <a:xfrm>
            <a:off x="6320793" y="741711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2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31D12E2-7369-4AEE-B1B5-D4FA242AB6AD}"/>
              </a:ext>
            </a:extLst>
          </p:cNvPr>
          <p:cNvGrpSpPr/>
          <p:nvPr/>
        </p:nvGrpSpPr>
        <p:grpSpPr>
          <a:xfrm>
            <a:off x="6440035" y="1743191"/>
            <a:ext cx="1184365" cy="1221888"/>
            <a:chOff x="1863636" y="2076992"/>
            <a:chExt cx="1184365" cy="1221888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5D42D5C-2C45-4D8A-9CF2-59206A01DCA6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77BBB38B-60B4-4377-8EE5-43E479E06E13}"/>
                </a:ext>
              </a:extLst>
            </p:cNvPr>
            <p:cNvSpPr/>
            <p:nvPr/>
          </p:nvSpPr>
          <p:spPr>
            <a:xfrm>
              <a:off x="1863636" y="2076992"/>
              <a:ext cx="1184365" cy="1221888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4789276-D8A2-46B8-8BA4-C12B696878C3}"/>
              </a:ext>
            </a:extLst>
          </p:cNvPr>
          <p:cNvGrpSpPr/>
          <p:nvPr/>
        </p:nvGrpSpPr>
        <p:grpSpPr>
          <a:xfrm>
            <a:off x="8020645" y="1738834"/>
            <a:ext cx="1184365" cy="1230607"/>
            <a:chOff x="1863636" y="2076992"/>
            <a:chExt cx="1184365" cy="1230607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67FFA457-3A7D-432D-837D-C9003C26DD30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DC13174-773E-4654-B78C-F1F684FB7FFB}"/>
                </a:ext>
              </a:extLst>
            </p:cNvPr>
            <p:cNvSpPr/>
            <p:nvPr/>
          </p:nvSpPr>
          <p:spPr>
            <a:xfrm>
              <a:off x="1863636" y="2076992"/>
              <a:ext cx="1184365" cy="1230607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9A95393C-E110-42D9-B717-21A1AF7F35B0}"/>
              </a:ext>
            </a:extLst>
          </p:cNvPr>
          <p:cNvSpPr/>
          <p:nvPr/>
        </p:nvSpPr>
        <p:spPr>
          <a:xfrm>
            <a:off x="6440035" y="1217366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BF24D8D8-4143-4A50-842B-C62881928686}"/>
              </a:ext>
            </a:extLst>
          </p:cNvPr>
          <p:cNvGrpSpPr/>
          <p:nvPr/>
        </p:nvGrpSpPr>
        <p:grpSpPr>
          <a:xfrm>
            <a:off x="10308993" y="1726629"/>
            <a:ext cx="1184365" cy="1238449"/>
            <a:chOff x="1863636" y="2076992"/>
            <a:chExt cx="1184365" cy="1238449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CB8B40DA-82E0-44D1-A3E1-1FC804C6B11E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5F321B02-D5C6-4427-A239-F5E7956184A7}"/>
                </a:ext>
              </a:extLst>
            </p:cNvPr>
            <p:cNvSpPr/>
            <p:nvPr/>
          </p:nvSpPr>
          <p:spPr>
            <a:xfrm>
              <a:off x="1863636" y="2076992"/>
              <a:ext cx="1184365" cy="1238449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2</a:t>
              </a: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BCE28F5-1DE7-474F-8627-914DACE3A2E7}"/>
              </a:ext>
            </a:extLst>
          </p:cNvPr>
          <p:cNvCxnSpPr>
            <a:cxnSpLocks/>
          </p:cNvCxnSpPr>
          <p:nvPr/>
        </p:nvCxnSpPr>
        <p:spPr>
          <a:xfrm>
            <a:off x="9400947" y="2821306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6014921" y="1213179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3789039" y="-1643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erver Metadata Layout 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4B76C9-3548-4F98-BE3F-112498936794}"/>
              </a:ext>
            </a:extLst>
          </p:cNvPr>
          <p:cNvSpPr/>
          <p:nvPr/>
        </p:nvSpPr>
        <p:spPr>
          <a:xfrm>
            <a:off x="6342460" y="2292226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279C243-9785-49EB-BE6B-916CAAA3591C}"/>
              </a:ext>
            </a:extLst>
          </p:cNvPr>
          <p:cNvSpPr/>
          <p:nvPr/>
        </p:nvSpPr>
        <p:spPr>
          <a:xfrm>
            <a:off x="726363" y="327018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Bucket Index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7F25458-AA07-4D37-8260-62C7F4F96CCF}"/>
              </a:ext>
            </a:extLst>
          </p:cNvPr>
          <p:cNvSpPr/>
          <p:nvPr/>
        </p:nvSpPr>
        <p:spPr>
          <a:xfrm>
            <a:off x="737359" y="3601700"/>
            <a:ext cx="10766995" cy="307439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ccount ID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CE4CE24-F0B5-4FCB-A7AF-7CA53BA32F09}"/>
              </a:ext>
            </a:extLst>
          </p:cNvPr>
          <p:cNvSpPr/>
          <p:nvPr/>
        </p:nvSpPr>
        <p:spPr>
          <a:xfrm>
            <a:off x="784493" y="422386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List Index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6DF88EA-0A3C-4353-B30C-4E405F1CDB33}"/>
              </a:ext>
            </a:extLst>
          </p:cNvPr>
          <p:cNvSpPr/>
          <p:nvPr/>
        </p:nvSpPr>
        <p:spPr>
          <a:xfrm>
            <a:off x="795489" y="4555380"/>
            <a:ext cx="10766995" cy="41483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Acct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/Bucket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​Obj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​ Multipart obj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, Version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Pool Version for S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C494CC8-3EF4-4740-96BB-CE9FCD371651}"/>
              </a:ext>
            </a:extLst>
          </p:cNvPr>
          <p:cNvSpPr/>
          <p:nvPr/>
        </p:nvSpPr>
        <p:spPr>
          <a:xfrm>
            <a:off x="631567" y="5320993"/>
            <a:ext cx="5073113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ject List Index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5E2E387-2D51-498D-A7CB-8DB9D5493074}"/>
              </a:ext>
            </a:extLst>
          </p:cNvPr>
          <p:cNvSpPr/>
          <p:nvPr/>
        </p:nvSpPr>
        <p:spPr>
          <a:xfrm>
            <a:off x="655031" y="5652504"/>
            <a:ext cx="5053323" cy="54001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ObjectNam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m_o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Pool Version, Layout ID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7369713D-AE5B-48EF-84D6-29DA8C426BB8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7660238" y="3356544"/>
            <a:ext cx="646202" cy="4184604"/>
          </a:xfrm>
          <a:prstGeom prst="bentConnector4">
            <a:avLst>
              <a:gd name="adj1" fmla="val 101751"/>
              <a:gd name="adj2" fmla="val 50557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ight Brace 14">
            <a:extLst>
              <a:ext uri="{FF2B5EF4-FFF2-40B4-BE49-F238E27FC236}">
                <a16:creationId xmlns:a16="http://schemas.microsoft.com/office/drawing/2014/main" id="{82170952-E900-4EBB-927B-77D887E5F2AC}"/>
              </a:ext>
            </a:extLst>
          </p:cNvPr>
          <p:cNvSpPr/>
          <p:nvPr/>
        </p:nvSpPr>
        <p:spPr>
          <a:xfrm rot="16200000" flipH="1">
            <a:off x="10029064" y="4049230"/>
            <a:ext cx="93153" cy="2059877"/>
          </a:xfrm>
          <a:prstGeom prst="rightBrac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267887-F731-4C4D-AC6A-1B2D40FA5A8C}"/>
              </a:ext>
            </a:extLst>
          </p:cNvPr>
          <p:cNvSpPr txBox="1"/>
          <p:nvPr/>
        </p:nvSpPr>
        <p:spPr>
          <a:xfrm>
            <a:off x="6484361" y="5103205"/>
            <a:ext cx="3482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ew Field to find  storage set of</a:t>
            </a:r>
          </a:p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‘Object List Index’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CB633D-B5F2-4468-8FA4-3DF1F1D254D3}"/>
              </a:ext>
            </a:extLst>
          </p:cNvPr>
          <p:cNvSpPr/>
          <p:nvPr/>
        </p:nvSpPr>
        <p:spPr>
          <a:xfrm>
            <a:off x="9083408" y="6153183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0FCA3CC-1BAF-4E01-BF3E-12C6C883A036}"/>
              </a:ext>
            </a:extLst>
          </p:cNvPr>
          <p:cNvSpPr/>
          <p:nvPr/>
        </p:nvSpPr>
        <p:spPr>
          <a:xfrm>
            <a:off x="9424343" y="6154751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1BD7F421-5FAF-497C-866F-9B46C4F65AB9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4851548" y="6055693"/>
            <a:ext cx="4093983" cy="191035"/>
          </a:xfrm>
          <a:prstGeom prst="bentConnector3">
            <a:avLst>
              <a:gd name="adj1" fmla="val 50000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F0CBC17F-1F65-42D1-8D12-A6B3D17AA17A}"/>
              </a:ext>
            </a:extLst>
          </p:cNvPr>
          <p:cNvSpPr/>
          <p:nvPr/>
        </p:nvSpPr>
        <p:spPr>
          <a:xfrm>
            <a:off x="10048086" y="6156320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7CF1615-ADE2-4055-84CE-907EAAF684B9}"/>
              </a:ext>
            </a:extLst>
          </p:cNvPr>
          <p:cNvSpPr/>
          <p:nvPr/>
        </p:nvSpPr>
        <p:spPr>
          <a:xfrm>
            <a:off x="10709533" y="6139035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08A977D3-9284-4591-8479-C4B9EB9CC194}"/>
              </a:ext>
            </a:extLst>
          </p:cNvPr>
          <p:cNvSpPr txBox="1"/>
          <p:nvPr/>
        </p:nvSpPr>
        <p:spPr>
          <a:xfrm>
            <a:off x="7392185" y="5909617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226250-5768-4062-A465-14159C6356F9}"/>
              </a:ext>
            </a:extLst>
          </p:cNvPr>
          <p:cNvSpPr/>
          <p:nvPr/>
        </p:nvSpPr>
        <p:spPr>
          <a:xfrm>
            <a:off x="8945531" y="6052523"/>
            <a:ext cx="2263264" cy="38840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09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3" name="Group 422">
            <a:extLst>
              <a:ext uri="{FF2B5EF4-FFF2-40B4-BE49-F238E27FC236}">
                <a16:creationId xmlns:a16="http://schemas.microsoft.com/office/drawing/2014/main" id="{890C9447-8BDE-4672-A2BF-4E8411E6091D}"/>
              </a:ext>
            </a:extLst>
          </p:cNvPr>
          <p:cNvGrpSpPr/>
          <p:nvPr/>
        </p:nvGrpSpPr>
        <p:grpSpPr>
          <a:xfrm>
            <a:off x="3665664" y="4272067"/>
            <a:ext cx="6876512" cy="877110"/>
            <a:chOff x="280017" y="3312943"/>
            <a:chExt cx="10319987" cy="960852"/>
          </a:xfrm>
        </p:grpSpPr>
        <p:grpSp>
          <p:nvGrpSpPr>
            <p:cNvPr id="424" name="Group 423">
              <a:extLst>
                <a:ext uri="{FF2B5EF4-FFF2-40B4-BE49-F238E27FC236}">
                  <a16:creationId xmlns:a16="http://schemas.microsoft.com/office/drawing/2014/main" id="{BE38459F-5D59-4ED3-AE9B-AD382F7537AB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426" name="Group 425">
                <a:extLst>
                  <a:ext uri="{FF2B5EF4-FFF2-40B4-BE49-F238E27FC236}">
                    <a16:creationId xmlns:a16="http://schemas.microsoft.com/office/drawing/2014/main" id="{FB1B0115-F5A3-4FE5-B70B-5653AFDD5058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465" name="Group 464">
                  <a:extLst>
                    <a:ext uri="{FF2B5EF4-FFF2-40B4-BE49-F238E27FC236}">
                      <a16:creationId xmlns:a16="http://schemas.microsoft.com/office/drawing/2014/main" id="{F7DCEE64-3E16-4FAE-8723-0EEA515586B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76" name="Can 8">
                    <a:extLst>
                      <a:ext uri="{FF2B5EF4-FFF2-40B4-BE49-F238E27FC236}">
                        <a16:creationId xmlns:a16="http://schemas.microsoft.com/office/drawing/2014/main" id="{5A349763-ECDE-421D-A11F-845ADAF424D8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7" name="Rectangle 476">
                    <a:extLst>
                      <a:ext uri="{FF2B5EF4-FFF2-40B4-BE49-F238E27FC236}">
                        <a16:creationId xmlns:a16="http://schemas.microsoft.com/office/drawing/2014/main" id="{AECCE456-E830-4BD0-AE6E-249EEF3268D0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478" name="Can 8">
                    <a:extLst>
                      <a:ext uri="{FF2B5EF4-FFF2-40B4-BE49-F238E27FC236}">
                        <a16:creationId xmlns:a16="http://schemas.microsoft.com/office/drawing/2014/main" id="{7DB7EDD4-2600-46AA-BCAE-5CACC9E4CE9B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9" name="Can 8">
                    <a:extLst>
                      <a:ext uri="{FF2B5EF4-FFF2-40B4-BE49-F238E27FC236}">
                        <a16:creationId xmlns:a16="http://schemas.microsoft.com/office/drawing/2014/main" id="{48BC15B2-0D36-4BE4-822A-3DF4E712E556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0" name="Can 8">
                    <a:extLst>
                      <a:ext uri="{FF2B5EF4-FFF2-40B4-BE49-F238E27FC236}">
                        <a16:creationId xmlns:a16="http://schemas.microsoft.com/office/drawing/2014/main" id="{B7DCAE22-A65F-4261-B1E6-B07E86470760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1" name="Can 8">
                    <a:extLst>
                      <a:ext uri="{FF2B5EF4-FFF2-40B4-BE49-F238E27FC236}">
                        <a16:creationId xmlns:a16="http://schemas.microsoft.com/office/drawing/2014/main" id="{1CBE964F-D57A-4061-B82D-820E72B28775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82" name="Can 8">
                    <a:extLst>
                      <a:ext uri="{FF2B5EF4-FFF2-40B4-BE49-F238E27FC236}">
                        <a16:creationId xmlns:a16="http://schemas.microsoft.com/office/drawing/2014/main" id="{FCB3F30E-1D90-4226-BC1C-C3335A3471C4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66" name="Can 8">
                  <a:extLst>
                    <a:ext uri="{FF2B5EF4-FFF2-40B4-BE49-F238E27FC236}">
                      <a16:creationId xmlns:a16="http://schemas.microsoft.com/office/drawing/2014/main" id="{2C2A32D8-0513-422A-8DE4-064BD64D2D3F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67" name="Group 466">
                  <a:extLst>
                    <a:ext uri="{FF2B5EF4-FFF2-40B4-BE49-F238E27FC236}">
                      <a16:creationId xmlns:a16="http://schemas.microsoft.com/office/drawing/2014/main" id="{2582014E-647C-46BB-9321-D5320064125E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469" name="Can 8">
                    <a:extLst>
                      <a:ext uri="{FF2B5EF4-FFF2-40B4-BE49-F238E27FC236}">
                        <a16:creationId xmlns:a16="http://schemas.microsoft.com/office/drawing/2014/main" id="{5F167B66-93E0-42AF-897D-ABDF1EF25E3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0" name="Rectangle 469">
                    <a:extLst>
                      <a:ext uri="{FF2B5EF4-FFF2-40B4-BE49-F238E27FC236}">
                        <a16:creationId xmlns:a16="http://schemas.microsoft.com/office/drawing/2014/main" id="{FB934C9A-24AD-4033-8469-EE2450341BE7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471" name="Can 8">
                    <a:extLst>
                      <a:ext uri="{FF2B5EF4-FFF2-40B4-BE49-F238E27FC236}">
                        <a16:creationId xmlns:a16="http://schemas.microsoft.com/office/drawing/2014/main" id="{F82563CB-D149-4A62-A1B4-501D304529C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2" name="Can 8">
                    <a:extLst>
                      <a:ext uri="{FF2B5EF4-FFF2-40B4-BE49-F238E27FC236}">
                        <a16:creationId xmlns:a16="http://schemas.microsoft.com/office/drawing/2014/main" id="{E0B1075E-7435-4D52-91DC-11BB27520708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3" name="Can 8">
                    <a:extLst>
                      <a:ext uri="{FF2B5EF4-FFF2-40B4-BE49-F238E27FC236}">
                        <a16:creationId xmlns:a16="http://schemas.microsoft.com/office/drawing/2014/main" id="{DF0685D4-C86D-47BF-B803-A0C824606EFE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4" name="Can 8">
                    <a:extLst>
                      <a:ext uri="{FF2B5EF4-FFF2-40B4-BE49-F238E27FC236}">
                        <a16:creationId xmlns:a16="http://schemas.microsoft.com/office/drawing/2014/main" id="{5FF91945-C811-4289-9FC5-3D0F0879A7C4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75" name="Can 8">
                    <a:extLst>
                      <a:ext uri="{FF2B5EF4-FFF2-40B4-BE49-F238E27FC236}">
                        <a16:creationId xmlns:a16="http://schemas.microsoft.com/office/drawing/2014/main" id="{46E1C3C7-4685-4AE3-A004-86D34B4A6D2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68" name="Can 8">
                  <a:extLst>
                    <a:ext uri="{FF2B5EF4-FFF2-40B4-BE49-F238E27FC236}">
                      <a16:creationId xmlns:a16="http://schemas.microsoft.com/office/drawing/2014/main" id="{697A8325-91ED-4BE2-A291-997B9DA4624F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27" name="Group 426">
                <a:extLst>
                  <a:ext uri="{FF2B5EF4-FFF2-40B4-BE49-F238E27FC236}">
                    <a16:creationId xmlns:a16="http://schemas.microsoft.com/office/drawing/2014/main" id="{10810D7C-6F29-451D-8327-599E39E2B996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47" name="Group 446">
                  <a:extLst>
                    <a:ext uri="{FF2B5EF4-FFF2-40B4-BE49-F238E27FC236}">
                      <a16:creationId xmlns:a16="http://schemas.microsoft.com/office/drawing/2014/main" id="{9FE3AA09-F881-42F5-8000-30A7431ACB2D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58" name="Can 8">
                    <a:extLst>
                      <a:ext uri="{FF2B5EF4-FFF2-40B4-BE49-F238E27FC236}">
                        <a16:creationId xmlns:a16="http://schemas.microsoft.com/office/drawing/2014/main" id="{01B2E809-0FB0-48FD-936A-E801ADD42C93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9" name="Rectangle 458">
                    <a:extLst>
                      <a:ext uri="{FF2B5EF4-FFF2-40B4-BE49-F238E27FC236}">
                        <a16:creationId xmlns:a16="http://schemas.microsoft.com/office/drawing/2014/main" id="{B3831AC5-F406-4077-8133-5A7DB5A1603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460" name="Can 8">
                    <a:extLst>
                      <a:ext uri="{FF2B5EF4-FFF2-40B4-BE49-F238E27FC236}">
                        <a16:creationId xmlns:a16="http://schemas.microsoft.com/office/drawing/2014/main" id="{D16124A0-76A9-48A0-ACC0-932282A8F956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1" name="Can 8">
                    <a:extLst>
                      <a:ext uri="{FF2B5EF4-FFF2-40B4-BE49-F238E27FC236}">
                        <a16:creationId xmlns:a16="http://schemas.microsoft.com/office/drawing/2014/main" id="{57519A8F-692C-44D8-9911-D464D3C17E3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2" name="Can 8">
                    <a:extLst>
                      <a:ext uri="{FF2B5EF4-FFF2-40B4-BE49-F238E27FC236}">
                        <a16:creationId xmlns:a16="http://schemas.microsoft.com/office/drawing/2014/main" id="{5A139A89-8B5A-4C13-9EDC-7798EA7767E6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3" name="Can 8">
                    <a:extLst>
                      <a:ext uri="{FF2B5EF4-FFF2-40B4-BE49-F238E27FC236}">
                        <a16:creationId xmlns:a16="http://schemas.microsoft.com/office/drawing/2014/main" id="{54969ABD-5E18-4F96-B82B-2F1683DF8CC1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64" name="Can 8">
                    <a:extLst>
                      <a:ext uri="{FF2B5EF4-FFF2-40B4-BE49-F238E27FC236}">
                        <a16:creationId xmlns:a16="http://schemas.microsoft.com/office/drawing/2014/main" id="{53E4431F-621E-44F3-BA5C-2219AA0F13AA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48" name="Can 8">
                  <a:extLst>
                    <a:ext uri="{FF2B5EF4-FFF2-40B4-BE49-F238E27FC236}">
                      <a16:creationId xmlns:a16="http://schemas.microsoft.com/office/drawing/2014/main" id="{8548617E-6570-4C9B-B135-C4AAECFB9977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49" name="Group 448">
                  <a:extLst>
                    <a:ext uri="{FF2B5EF4-FFF2-40B4-BE49-F238E27FC236}">
                      <a16:creationId xmlns:a16="http://schemas.microsoft.com/office/drawing/2014/main" id="{E773D480-E91C-4620-B41B-C9130101BBCF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51" name="Can 8">
                    <a:extLst>
                      <a:ext uri="{FF2B5EF4-FFF2-40B4-BE49-F238E27FC236}">
                        <a16:creationId xmlns:a16="http://schemas.microsoft.com/office/drawing/2014/main" id="{8EF57B4C-B4DD-4FF4-B90D-313AB107C756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2" name="Rectangle 451">
                    <a:extLst>
                      <a:ext uri="{FF2B5EF4-FFF2-40B4-BE49-F238E27FC236}">
                        <a16:creationId xmlns:a16="http://schemas.microsoft.com/office/drawing/2014/main" id="{5D264F82-2283-4D7D-ABCB-C1DE1EC996CF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453" name="Can 8">
                    <a:extLst>
                      <a:ext uri="{FF2B5EF4-FFF2-40B4-BE49-F238E27FC236}">
                        <a16:creationId xmlns:a16="http://schemas.microsoft.com/office/drawing/2014/main" id="{108EF8D1-9347-4D22-A279-DA69A36A1DA8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4" name="Can 8">
                    <a:extLst>
                      <a:ext uri="{FF2B5EF4-FFF2-40B4-BE49-F238E27FC236}">
                        <a16:creationId xmlns:a16="http://schemas.microsoft.com/office/drawing/2014/main" id="{0F5FD5B0-C127-4192-90D7-C4866B0F7582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5" name="Can 8">
                    <a:extLst>
                      <a:ext uri="{FF2B5EF4-FFF2-40B4-BE49-F238E27FC236}">
                        <a16:creationId xmlns:a16="http://schemas.microsoft.com/office/drawing/2014/main" id="{D126455F-7EEE-440C-810D-2F374BD91A9D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6" name="Can 8">
                    <a:extLst>
                      <a:ext uri="{FF2B5EF4-FFF2-40B4-BE49-F238E27FC236}">
                        <a16:creationId xmlns:a16="http://schemas.microsoft.com/office/drawing/2014/main" id="{89B01698-4567-49EF-88DC-833944E8235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57" name="Can 8">
                    <a:extLst>
                      <a:ext uri="{FF2B5EF4-FFF2-40B4-BE49-F238E27FC236}">
                        <a16:creationId xmlns:a16="http://schemas.microsoft.com/office/drawing/2014/main" id="{50C6E928-A45B-4F41-BEDB-0323200A3BC3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50" name="Can 8">
                  <a:extLst>
                    <a:ext uri="{FF2B5EF4-FFF2-40B4-BE49-F238E27FC236}">
                      <a16:creationId xmlns:a16="http://schemas.microsoft.com/office/drawing/2014/main" id="{26961A65-4E00-4773-8185-83752261C46F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28" name="Group 427">
                <a:extLst>
                  <a:ext uri="{FF2B5EF4-FFF2-40B4-BE49-F238E27FC236}">
                    <a16:creationId xmlns:a16="http://schemas.microsoft.com/office/drawing/2014/main" id="{4B7911E7-AADA-4782-9398-58525BDD0414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29" name="Group 428">
                  <a:extLst>
                    <a:ext uri="{FF2B5EF4-FFF2-40B4-BE49-F238E27FC236}">
                      <a16:creationId xmlns:a16="http://schemas.microsoft.com/office/drawing/2014/main" id="{DDD899AE-136B-475F-A76C-CDCF8C53E404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40" name="Can 8">
                    <a:extLst>
                      <a:ext uri="{FF2B5EF4-FFF2-40B4-BE49-F238E27FC236}">
                        <a16:creationId xmlns:a16="http://schemas.microsoft.com/office/drawing/2014/main" id="{5D61F318-2715-4D49-B575-C855004A29E3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1" name="Rectangle 440">
                    <a:extLst>
                      <a:ext uri="{FF2B5EF4-FFF2-40B4-BE49-F238E27FC236}">
                        <a16:creationId xmlns:a16="http://schemas.microsoft.com/office/drawing/2014/main" id="{72E3A7E5-E555-44B4-BD8E-7D398A6E0C7B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442" name="Can 8">
                    <a:extLst>
                      <a:ext uri="{FF2B5EF4-FFF2-40B4-BE49-F238E27FC236}">
                        <a16:creationId xmlns:a16="http://schemas.microsoft.com/office/drawing/2014/main" id="{187ABFCF-C139-4EF1-9FB5-843DC149C44A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3" name="Can 8">
                    <a:extLst>
                      <a:ext uri="{FF2B5EF4-FFF2-40B4-BE49-F238E27FC236}">
                        <a16:creationId xmlns:a16="http://schemas.microsoft.com/office/drawing/2014/main" id="{73AB98F6-8674-4126-B8CF-D6A7A52CDCB4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4" name="Can 8">
                    <a:extLst>
                      <a:ext uri="{FF2B5EF4-FFF2-40B4-BE49-F238E27FC236}">
                        <a16:creationId xmlns:a16="http://schemas.microsoft.com/office/drawing/2014/main" id="{8BA2B3A1-20D1-453D-AD01-AC38B035468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5" name="Can 8">
                    <a:extLst>
                      <a:ext uri="{FF2B5EF4-FFF2-40B4-BE49-F238E27FC236}">
                        <a16:creationId xmlns:a16="http://schemas.microsoft.com/office/drawing/2014/main" id="{C61C88CA-DC98-4AFF-BA47-5C52F3FBAD98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46" name="Can 8">
                    <a:extLst>
                      <a:ext uri="{FF2B5EF4-FFF2-40B4-BE49-F238E27FC236}">
                        <a16:creationId xmlns:a16="http://schemas.microsoft.com/office/drawing/2014/main" id="{770B9ABD-44A4-48A5-92ED-2B34CCFF152B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30" name="Can 8">
                  <a:extLst>
                    <a:ext uri="{FF2B5EF4-FFF2-40B4-BE49-F238E27FC236}">
                      <a16:creationId xmlns:a16="http://schemas.microsoft.com/office/drawing/2014/main" id="{C1232209-4D6F-44AF-97B9-315DA013000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31" name="Group 430">
                  <a:extLst>
                    <a:ext uri="{FF2B5EF4-FFF2-40B4-BE49-F238E27FC236}">
                      <a16:creationId xmlns:a16="http://schemas.microsoft.com/office/drawing/2014/main" id="{86E297B2-D419-478D-BA58-316E7538AB0D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33" name="Can 8">
                    <a:extLst>
                      <a:ext uri="{FF2B5EF4-FFF2-40B4-BE49-F238E27FC236}">
                        <a16:creationId xmlns:a16="http://schemas.microsoft.com/office/drawing/2014/main" id="{FC785BE3-540A-4E3B-8BCC-57B0818536F7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4" name="Rectangle 433">
                    <a:extLst>
                      <a:ext uri="{FF2B5EF4-FFF2-40B4-BE49-F238E27FC236}">
                        <a16:creationId xmlns:a16="http://schemas.microsoft.com/office/drawing/2014/main" id="{5986A11E-C173-46F5-832B-F06AA16732A7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435" name="Can 8">
                    <a:extLst>
                      <a:ext uri="{FF2B5EF4-FFF2-40B4-BE49-F238E27FC236}">
                        <a16:creationId xmlns:a16="http://schemas.microsoft.com/office/drawing/2014/main" id="{51FBFC93-88BE-48CE-AC66-6B850824EA9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6" name="Can 8">
                    <a:extLst>
                      <a:ext uri="{FF2B5EF4-FFF2-40B4-BE49-F238E27FC236}">
                        <a16:creationId xmlns:a16="http://schemas.microsoft.com/office/drawing/2014/main" id="{2C7C2164-F81E-49F6-85E7-FB5CCE81F32A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7" name="Can 8">
                    <a:extLst>
                      <a:ext uri="{FF2B5EF4-FFF2-40B4-BE49-F238E27FC236}">
                        <a16:creationId xmlns:a16="http://schemas.microsoft.com/office/drawing/2014/main" id="{CA2C33DA-1375-4C79-944D-20AFADD7B90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8" name="Can 8">
                    <a:extLst>
                      <a:ext uri="{FF2B5EF4-FFF2-40B4-BE49-F238E27FC236}">
                        <a16:creationId xmlns:a16="http://schemas.microsoft.com/office/drawing/2014/main" id="{BC883D22-C2AA-4F64-BE63-B7A122CCAF0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39" name="Can 8">
                    <a:extLst>
                      <a:ext uri="{FF2B5EF4-FFF2-40B4-BE49-F238E27FC236}">
                        <a16:creationId xmlns:a16="http://schemas.microsoft.com/office/drawing/2014/main" id="{2173E379-26C6-4307-9C3F-79F1089E98A8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32" name="Can 8">
                  <a:extLst>
                    <a:ext uri="{FF2B5EF4-FFF2-40B4-BE49-F238E27FC236}">
                      <a16:creationId xmlns:a16="http://schemas.microsoft.com/office/drawing/2014/main" id="{AACCD554-DB2A-4A69-B81B-D7695026C3CD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25" name="Rectangle 424">
              <a:extLst>
                <a:ext uri="{FF2B5EF4-FFF2-40B4-BE49-F238E27FC236}">
                  <a16:creationId xmlns:a16="http://schemas.microsoft.com/office/drawing/2014/main" id="{BE7640F8-A222-4B30-AE59-23C9A22915EF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B (Storage Set 2)</a:t>
              </a:r>
            </a:p>
          </p:txBody>
        </p:sp>
      </p:grp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366643" y="-1643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Motr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-Hare HA Interface &amp; Interactio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C254DBF-03C8-4268-9563-D85B93C88C6E}"/>
              </a:ext>
            </a:extLst>
          </p:cNvPr>
          <p:cNvSpPr/>
          <p:nvPr/>
        </p:nvSpPr>
        <p:spPr>
          <a:xfrm>
            <a:off x="4485510" y="2060270"/>
            <a:ext cx="5076799" cy="74523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tr</a:t>
            </a:r>
            <a:endParaRPr lang="en-US" dirty="0"/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220767C2-6699-4D18-838B-61A9A5BB5F13}"/>
              </a:ext>
            </a:extLst>
          </p:cNvPr>
          <p:cNvSpPr/>
          <p:nvPr/>
        </p:nvSpPr>
        <p:spPr>
          <a:xfrm>
            <a:off x="4506611" y="642985"/>
            <a:ext cx="5055697" cy="74523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re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5B7B3EE-2C8D-4891-87CD-E9486FAD8B16}"/>
              </a:ext>
            </a:extLst>
          </p:cNvPr>
          <p:cNvCxnSpPr/>
          <p:nvPr/>
        </p:nvCxnSpPr>
        <p:spPr>
          <a:xfrm>
            <a:off x="4684539" y="1413801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6B867987-C3FE-441B-B1F6-0EC52942A414}"/>
              </a:ext>
            </a:extLst>
          </p:cNvPr>
          <p:cNvCxnSpPr/>
          <p:nvPr/>
        </p:nvCxnSpPr>
        <p:spPr>
          <a:xfrm>
            <a:off x="5759161" y="1413801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>
            <a:extLst>
              <a:ext uri="{FF2B5EF4-FFF2-40B4-BE49-F238E27FC236}">
                <a16:creationId xmlns:a16="http://schemas.microsoft.com/office/drawing/2014/main" id="{BE521704-D72A-4858-A0A1-E9C5F0981549}"/>
              </a:ext>
            </a:extLst>
          </p:cNvPr>
          <p:cNvSpPr txBox="1"/>
          <p:nvPr/>
        </p:nvSpPr>
        <p:spPr>
          <a:xfrm>
            <a:off x="4804903" y="1492239"/>
            <a:ext cx="1072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otify DG Status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0DCEBA1C-2366-48DE-B42F-2E18EF345A5A}"/>
              </a:ext>
            </a:extLst>
          </p:cNvPr>
          <p:cNvSpPr txBox="1"/>
          <p:nvPr/>
        </p:nvSpPr>
        <p:spPr>
          <a:xfrm>
            <a:off x="3573196" y="1469935"/>
            <a:ext cx="11437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otify Node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Status</a:t>
            </a:r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B98632DB-9CD2-4922-8B15-01F1BF0745EA}"/>
              </a:ext>
            </a:extLst>
          </p:cNvPr>
          <p:cNvCxnSpPr/>
          <p:nvPr/>
        </p:nvCxnSpPr>
        <p:spPr>
          <a:xfrm>
            <a:off x="7670022" y="1420914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>
            <a:extLst>
              <a:ext uri="{FF2B5EF4-FFF2-40B4-BE49-F238E27FC236}">
                <a16:creationId xmlns:a16="http://schemas.microsoft.com/office/drawing/2014/main" id="{607F7042-533D-4822-AFBD-5F406D270805}"/>
              </a:ext>
            </a:extLst>
          </p:cNvPr>
          <p:cNvSpPr txBox="1"/>
          <p:nvPr/>
        </p:nvSpPr>
        <p:spPr>
          <a:xfrm>
            <a:off x="7554681" y="1462633"/>
            <a:ext cx="1072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Stob</a:t>
            </a:r>
            <a:r>
              <a:rPr lang="en-US" sz="1400" dirty="0">
                <a:solidFill>
                  <a:schemeClr val="bg1"/>
                </a:solidFill>
              </a:rPr>
              <a:t> IO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Fail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365CD75-4CD7-4E5D-89B3-BFDB21C0C16B}"/>
              </a:ext>
            </a:extLst>
          </p:cNvPr>
          <p:cNvGrpSpPr/>
          <p:nvPr/>
        </p:nvGrpSpPr>
        <p:grpSpPr>
          <a:xfrm>
            <a:off x="79959" y="3312943"/>
            <a:ext cx="6876512" cy="877110"/>
            <a:chOff x="280017" y="3312943"/>
            <a:chExt cx="10319987" cy="96085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89FE73A-41FD-4615-AEB7-CECEC4826A2A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47309328-737D-4060-9E38-DCED23AA9AB3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181" name="Group 180">
                  <a:extLst>
                    <a:ext uri="{FF2B5EF4-FFF2-40B4-BE49-F238E27FC236}">
                      <a16:creationId xmlns:a16="http://schemas.microsoft.com/office/drawing/2014/main" id="{938BE04C-2DF9-4F50-9394-991FCC5A02CE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192" name="Can 8">
                    <a:extLst>
                      <a:ext uri="{FF2B5EF4-FFF2-40B4-BE49-F238E27FC236}">
                        <a16:creationId xmlns:a16="http://schemas.microsoft.com/office/drawing/2014/main" id="{6FC1B239-AA22-4CBF-90FF-1DB6C811F6BD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3" name="Rectangle 192">
                    <a:extLst>
                      <a:ext uri="{FF2B5EF4-FFF2-40B4-BE49-F238E27FC236}">
                        <a16:creationId xmlns:a16="http://schemas.microsoft.com/office/drawing/2014/main" id="{64A9B97E-3785-4B17-A0D6-C6E3A04F712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194" name="Can 8">
                    <a:extLst>
                      <a:ext uri="{FF2B5EF4-FFF2-40B4-BE49-F238E27FC236}">
                        <a16:creationId xmlns:a16="http://schemas.microsoft.com/office/drawing/2014/main" id="{0A226A84-4887-4C46-A30D-BEB77F9425C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5" name="Can 8">
                    <a:extLst>
                      <a:ext uri="{FF2B5EF4-FFF2-40B4-BE49-F238E27FC236}">
                        <a16:creationId xmlns:a16="http://schemas.microsoft.com/office/drawing/2014/main" id="{33D51920-17A6-47A0-A009-D9E5A81CA79A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6" name="Can 8">
                    <a:extLst>
                      <a:ext uri="{FF2B5EF4-FFF2-40B4-BE49-F238E27FC236}">
                        <a16:creationId xmlns:a16="http://schemas.microsoft.com/office/drawing/2014/main" id="{8843A7B8-7317-4948-A9B2-4D8AB8D16B73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7" name="Can 8">
                    <a:extLst>
                      <a:ext uri="{FF2B5EF4-FFF2-40B4-BE49-F238E27FC236}">
                        <a16:creationId xmlns:a16="http://schemas.microsoft.com/office/drawing/2014/main" id="{988F17ED-762F-429D-AF79-496A6E4DAF75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8" name="Can 8">
                    <a:extLst>
                      <a:ext uri="{FF2B5EF4-FFF2-40B4-BE49-F238E27FC236}">
                        <a16:creationId xmlns:a16="http://schemas.microsoft.com/office/drawing/2014/main" id="{A81C90BF-E017-4318-B51E-5B5F8374AD6F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82" name="Can 8">
                  <a:extLst>
                    <a:ext uri="{FF2B5EF4-FFF2-40B4-BE49-F238E27FC236}">
                      <a16:creationId xmlns:a16="http://schemas.microsoft.com/office/drawing/2014/main" id="{868CC348-FDDE-4FD7-8E87-789D03EE7F0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83" name="Group 182">
                  <a:extLst>
                    <a:ext uri="{FF2B5EF4-FFF2-40B4-BE49-F238E27FC236}">
                      <a16:creationId xmlns:a16="http://schemas.microsoft.com/office/drawing/2014/main" id="{AF4CB4EF-CB05-40A0-B4A5-C8C790B5C6F9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185" name="Can 8">
                    <a:extLst>
                      <a:ext uri="{FF2B5EF4-FFF2-40B4-BE49-F238E27FC236}">
                        <a16:creationId xmlns:a16="http://schemas.microsoft.com/office/drawing/2014/main" id="{DDC229AB-1DC7-4933-BCB7-98E02F6E1B24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6" name="Rectangle 185">
                    <a:extLst>
                      <a:ext uri="{FF2B5EF4-FFF2-40B4-BE49-F238E27FC236}">
                        <a16:creationId xmlns:a16="http://schemas.microsoft.com/office/drawing/2014/main" id="{11A50EB2-0D55-4AE5-939E-7B6E68441520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187" name="Can 8">
                    <a:extLst>
                      <a:ext uri="{FF2B5EF4-FFF2-40B4-BE49-F238E27FC236}">
                        <a16:creationId xmlns:a16="http://schemas.microsoft.com/office/drawing/2014/main" id="{5F2D3793-5906-4353-AA7A-5FC6BDA5FB85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8" name="Can 8">
                    <a:extLst>
                      <a:ext uri="{FF2B5EF4-FFF2-40B4-BE49-F238E27FC236}">
                        <a16:creationId xmlns:a16="http://schemas.microsoft.com/office/drawing/2014/main" id="{9993B546-59E8-4FB6-8F82-66C32BDE3048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9" name="Can 8">
                    <a:extLst>
                      <a:ext uri="{FF2B5EF4-FFF2-40B4-BE49-F238E27FC236}">
                        <a16:creationId xmlns:a16="http://schemas.microsoft.com/office/drawing/2014/main" id="{C0AF0A40-1AA8-4361-9B20-DAF2B4F89B27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0" name="Can 8">
                    <a:extLst>
                      <a:ext uri="{FF2B5EF4-FFF2-40B4-BE49-F238E27FC236}">
                        <a16:creationId xmlns:a16="http://schemas.microsoft.com/office/drawing/2014/main" id="{2B0AF2A6-FC76-4B4C-B8BD-3C065F4888E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1" name="Can 8">
                    <a:extLst>
                      <a:ext uri="{FF2B5EF4-FFF2-40B4-BE49-F238E27FC236}">
                        <a16:creationId xmlns:a16="http://schemas.microsoft.com/office/drawing/2014/main" id="{DCD25E04-19FA-4AEE-9E9B-D785D8DEF32B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84" name="Can 8">
                  <a:extLst>
                    <a:ext uri="{FF2B5EF4-FFF2-40B4-BE49-F238E27FC236}">
                      <a16:creationId xmlns:a16="http://schemas.microsoft.com/office/drawing/2014/main" id="{A497D750-BF8B-498E-B983-DC33E9507DDF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0EB071D5-DF53-4447-B453-7C1F3BC0F776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201" name="Group 200">
                  <a:extLst>
                    <a:ext uri="{FF2B5EF4-FFF2-40B4-BE49-F238E27FC236}">
                      <a16:creationId xmlns:a16="http://schemas.microsoft.com/office/drawing/2014/main" id="{A1C7820D-1386-45DA-93AC-D2DD6CAC9EDF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12" name="Can 8">
                    <a:extLst>
                      <a:ext uri="{FF2B5EF4-FFF2-40B4-BE49-F238E27FC236}">
                        <a16:creationId xmlns:a16="http://schemas.microsoft.com/office/drawing/2014/main" id="{4D239C9B-F6D9-4FA7-8A99-6164E4516CD1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3" name="Rectangle 212">
                    <a:extLst>
                      <a:ext uri="{FF2B5EF4-FFF2-40B4-BE49-F238E27FC236}">
                        <a16:creationId xmlns:a16="http://schemas.microsoft.com/office/drawing/2014/main" id="{0AC95827-2D71-4FB0-991A-0DC03D981278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214" name="Can 8">
                    <a:extLst>
                      <a:ext uri="{FF2B5EF4-FFF2-40B4-BE49-F238E27FC236}">
                        <a16:creationId xmlns:a16="http://schemas.microsoft.com/office/drawing/2014/main" id="{CF93011F-3033-438D-A1BC-EBB037B69FC9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5" name="Can 8">
                    <a:extLst>
                      <a:ext uri="{FF2B5EF4-FFF2-40B4-BE49-F238E27FC236}">
                        <a16:creationId xmlns:a16="http://schemas.microsoft.com/office/drawing/2014/main" id="{9FE41475-7BDB-4982-BD72-4452B95B8F6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6" name="Can 8">
                    <a:extLst>
                      <a:ext uri="{FF2B5EF4-FFF2-40B4-BE49-F238E27FC236}">
                        <a16:creationId xmlns:a16="http://schemas.microsoft.com/office/drawing/2014/main" id="{6C703CC0-896D-4840-8EA4-6900EEAA4A8A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7" name="Can 8">
                    <a:extLst>
                      <a:ext uri="{FF2B5EF4-FFF2-40B4-BE49-F238E27FC236}">
                        <a16:creationId xmlns:a16="http://schemas.microsoft.com/office/drawing/2014/main" id="{5FA66AED-96FB-4CAC-AAA8-C7FA22822C97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18" name="Can 8">
                    <a:extLst>
                      <a:ext uri="{FF2B5EF4-FFF2-40B4-BE49-F238E27FC236}">
                        <a16:creationId xmlns:a16="http://schemas.microsoft.com/office/drawing/2014/main" id="{A1B481AE-2244-4823-A0D7-460565BA4AFD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02" name="Can 8">
                  <a:extLst>
                    <a:ext uri="{FF2B5EF4-FFF2-40B4-BE49-F238E27FC236}">
                      <a16:creationId xmlns:a16="http://schemas.microsoft.com/office/drawing/2014/main" id="{DABF2253-32AE-461D-B12C-685DA202DA6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03" name="Group 202">
                  <a:extLst>
                    <a:ext uri="{FF2B5EF4-FFF2-40B4-BE49-F238E27FC236}">
                      <a16:creationId xmlns:a16="http://schemas.microsoft.com/office/drawing/2014/main" id="{EB81B60A-75E9-4FC0-B4F5-633D7A53C6D3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05" name="Can 8">
                    <a:extLst>
                      <a:ext uri="{FF2B5EF4-FFF2-40B4-BE49-F238E27FC236}">
                        <a16:creationId xmlns:a16="http://schemas.microsoft.com/office/drawing/2014/main" id="{7C276B3C-B419-4126-ADA0-050E78A73D39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6" name="Rectangle 205">
                    <a:extLst>
                      <a:ext uri="{FF2B5EF4-FFF2-40B4-BE49-F238E27FC236}">
                        <a16:creationId xmlns:a16="http://schemas.microsoft.com/office/drawing/2014/main" id="{2E84BEE7-0CC0-4F1E-8776-873B6E43184D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207" name="Can 8">
                    <a:extLst>
                      <a:ext uri="{FF2B5EF4-FFF2-40B4-BE49-F238E27FC236}">
                        <a16:creationId xmlns:a16="http://schemas.microsoft.com/office/drawing/2014/main" id="{9BBF9CA9-FF50-49B2-8372-B01D339472D0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8" name="Can 8">
                    <a:extLst>
                      <a:ext uri="{FF2B5EF4-FFF2-40B4-BE49-F238E27FC236}">
                        <a16:creationId xmlns:a16="http://schemas.microsoft.com/office/drawing/2014/main" id="{5622733E-5F33-418B-8614-5BD5FED88813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9" name="Can 8">
                    <a:extLst>
                      <a:ext uri="{FF2B5EF4-FFF2-40B4-BE49-F238E27FC236}">
                        <a16:creationId xmlns:a16="http://schemas.microsoft.com/office/drawing/2014/main" id="{978114EF-5866-433C-A4B6-37B4ECD6BF99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0" name="Can 8">
                    <a:extLst>
                      <a:ext uri="{FF2B5EF4-FFF2-40B4-BE49-F238E27FC236}">
                        <a16:creationId xmlns:a16="http://schemas.microsoft.com/office/drawing/2014/main" id="{BC5B1F10-3BEA-4B4F-AD64-1C94E2F3CC67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11" name="Can 8">
                    <a:extLst>
                      <a:ext uri="{FF2B5EF4-FFF2-40B4-BE49-F238E27FC236}">
                        <a16:creationId xmlns:a16="http://schemas.microsoft.com/office/drawing/2014/main" id="{2560973C-688E-45CA-97B4-50A40A2E440D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04" name="Can 8">
                  <a:extLst>
                    <a:ext uri="{FF2B5EF4-FFF2-40B4-BE49-F238E27FC236}">
                      <a16:creationId xmlns:a16="http://schemas.microsoft.com/office/drawing/2014/main" id="{C4D62BF9-41BC-47B0-86A8-DF334970742F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19" name="Group 218">
                <a:extLst>
                  <a:ext uri="{FF2B5EF4-FFF2-40B4-BE49-F238E27FC236}">
                    <a16:creationId xmlns:a16="http://schemas.microsoft.com/office/drawing/2014/main" id="{5CE078BA-15B1-4EC8-AA23-72E8D327667B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221" name="Group 220">
                  <a:extLst>
                    <a:ext uri="{FF2B5EF4-FFF2-40B4-BE49-F238E27FC236}">
                      <a16:creationId xmlns:a16="http://schemas.microsoft.com/office/drawing/2014/main" id="{1A04FF6E-95D5-401F-96EA-39CD8AB198A9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32" name="Can 8">
                    <a:extLst>
                      <a:ext uri="{FF2B5EF4-FFF2-40B4-BE49-F238E27FC236}">
                        <a16:creationId xmlns:a16="http://schemas.microsoft.com/office/drawing/2014/main" id="{5AC0AA98-1D94-4AE2-BE1D-86DC2402BE74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3" name="Rectangle 232">
                    <a:extLst>
                      <a:ext uri="{FF2B5EF4-FFF2-40B4-BE49-F238E27FC236}">
                        <a16:creationId xmlns:a16="http://schemas.microsoft.com/office/drawing/2014/main" id="{C7FE176E-83B7-4240-979F-6ACA683D1BCF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234" name="Can 8">
                    <a:extLst>
                      <a:ext uri="{FF2B5EF4-FFF2-40B4-BE49-F238E27FC236}">
                        <a16:creationId xmlns:a16="http://schemas.microsoft.com/office/drawing/2014/main" id="{65A8AF77-5934-4A87-9739-6EE6C423E13C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5" name="Can 8">
                    <a:extLst>
                      <a:ext uri="{FF2B5EF4-FFF2-40B4-BE49-F238E27FC236}">
                        <a16:creationId xmlns:a16="http://schemas.microsoft.com/office/drawing/2014/main" id="{39C7347F-8541-4BD0-BED3-5BB996C7E55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6" name="Can 8">
                    <a:extLst>
                      <a:ext uri="{FF2B5EF4-FFF2-40B4-BE49-F238E27FC236}">
                        <a16:creationId xmlns:a16="http://schemas.microsoft.com/office/drawing/2014/main" id="{1574A609-46FA-4902-A303-10B759856815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7" name="Can 8">
                    <a:extLst>
                      <a:ext uri="{FF2B5EF4-FFF2-40B4-BE49-F238E27FC236}">
                        <a16:creationId xmlns:a16="http://schemas.microsoft.com/office/drawing/2014/main" id="{7DF5BEF1-6F91-4923-B3AF-DB742F29C6BF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38" name="Can 8">
                    <a:extLst>
                      <a:ext uri="{FF2B5EF4-FFF2-40B4-BE49-F238E27FC236}">
                        <a16:creationId xmlns:a16="http://schemas.microsoft.com/office/drawing/2014/main" id="{5BDCFF06-47D8-4AB5-B4B0-D0DC28D2392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22" name="Can 8">
                  <a:extLst>
                    <a:ext uri="{FF2B5EF4-FFF2-40B4-BE49-F238E27FC236}">
                      <a16:creationId xmlns:a16="http://schemas.microsoft.com/office/drawing/2014/main" id="{F65414B1-FAE4-4243-8BF9-5B32C703D75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23" name="Group 222">
                  <a:extLst>
                    <a:ext uri="{FF2B5EF4-FFF2-40B4-BE49-F238E27FC236}">
                      <a16:creationId xmlns:a16="http://schemas.microsoft.com/office/drawing/2014/main" id="{E45063B4-8508-4A94-832C-BE6B66FC8EF2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25" name="Can 8">
                    <a:extLst>
                      <a:ext uri="{FF2B5EF4-FFF2-40B4-BE49-F238E27FC236}">
                        <a16:creationId xmlns:a16="http://schemas.microsoft.com/office/drawing/2014/main" id="{A776FECF-201F-407F-AB9E-D6ADD9AE7888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6" name="Rectangle 225">
                    <a:extLst>
                      <a:ext uri="{FF2B5EF4-FFF2-40B4-BE49-F238E27FC236}">
                        <a16:creationId xmlns:a16="http://schemas.microsoft.com/office/drawing/2014/main" id="{F91C473C-89A4-4DFF-ABBC-1D92CD69658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227" name="Can 8">
                    <a:extLst>
                      <a:ext uri="{FF2B5EF4-FFF2-40B4-BE49-F238E27FC236}">
                        <a16:creationId xmlns:a16="http://schemas.microsoft.com/office/drawing/2014/main" id="{0A6F14FD-CFC3-4AC8-88B1-0F19108C072C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8" name="Can 8">
                    <a:extLst>
                      <a:ext uri="{FF2B5EF4-FFF2-40B4-BE49-F238E27FC236}">
                        <a16:creationId xmlns:a16="http://schemas.microsoft.com/office/drawing/2014/main" id="{2D093DB2-2550-4EB4-801C-33CA67B7B4DC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9" name="Can 8">
                    <a:extLst>
                      <a:ext uri="{FF2B5EF4-FFF2-40B4-BE49-F238E27FC236}">
                        <a16:creationId xmlns:a16="http://schemas.microsoft.com/office/drawing/2014/main" id="{B85F0F4E-493C-4684-8773-DB76B55D9332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0" name="Can 8">
                    <a:extLst>
                      <a:ext uri="{FF2B5EF4-FFF2-40B4-BE49-F238E27FC236}">
                        <a16:creationId xmlns:a16="http://schemas.microsoft.com/office/drawing/2014/main" id="{7DB961DB-FC1B-4562-98B5-8287BFA1278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31" name="Can 8">
                    <a:extLst>
                      <a:ext uri="{FF2B5EF4-FFF2-40B4-BE49-F238E27FC236}">
                        <a16:creationId xmlns:a16="http://schemas.microsoft.com/office/drawing/2014/main" id="{4E2049CC-6DC3-4291-9807-130D19432872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24" name="Can 8">
                  <a:extLst>
                    <a:ext uri="{FF2B5EF4-FFF2-40B4-BE49-F238E27FC236}">
                      <a16:creationId xmlns:a16="http://schemas.microsoft.com/office/drawing/2014/main" id="{8D42CA47-B413-49DB-87D6-1010EBEE023D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B92329BE-C39F-41F4-9C4B-5D041EDEDCCB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A (Storage Set 1)</a:t>
              </a:r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0160C20-7FAD-4C75-9181-FF336927EA4E}"/>
              </a:ext>
            </a:extLst>
          </p:cNvPr>
          <p:cNvCxnSpPr/>
          <p:nvPr/>
        </p:nvCxnSpPr>
        <p:spPr>
          <a:xfrm flipH="1">
            <a:off x="7326661" y="5261430"/>
            <a:ext cx="6413" cy="435428"/>
          </a:xfrm>
          <a:prstGeom prst="line">
            <a:avLst/>
          </a:prstGeom>
          <a:ln w="2857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B16E14C2-468A-494D-B7F8-3133E29892DF}"/>
              </a:ext>
            </a:extLst>
          </p:cNvPr>
          <p:cNvCxnSpPr>
            <a:cxnSpLocks/>
          </p:cNvCxnSpPr>
          <p:nvPr/>
        </p:nvCxnSpPr>
        <p:spPr>
          <a:xfrm>
            <a:off x="5750721" y="3098800"/>
            <a:ext cx="3100787" cy="1502449"/>
          </a:xfrm>
          <a:prstGeom prst="bentConnector2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922E70-80DA-448B-9793-5D40D45AD131}"/>
              </a:ext>
            </a:extLst>
          </p:cNvPr>
          <p:cNvCxnSpPr>
            <a:cxnSpLocks/>
          </p:cNvCxnSpPr>
          <p:nvPr/>
        </p:nvCxnSpPr>
        <p:spPr>
          <a:xfrm flipH="1">
            <a:off x="5758384" y="2015459"/>
            <a:ext cx="14108" cy="1083341"/>
          </a:xfrm>
          <a:prstGeom prst="line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318F7567-6BAD-4DC7-B5DE-15CC323C06B5}"/>
              </a:ext>
            </a:extLst>
          </p:cNvPr>
          <p:cNvSpPr txBox="1"/>
          <p:nvPr/>
        </p:nvSpPr>
        <p:spPr>
          <a:xfrm>
            <a:off x="6521992" y="2873832"/>
            <a:ext cx="15516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SS2 : Node 3 : DG1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CFE69B5-B706-48B0-824D-56AE2515A343}"/>
              </a:ext>
            </a:extLst>
          </p:cNvPr>
          <p:cNvCxnSpPr>
            <a:cxnSpLocks/>
          </p:cNvCxnSpPr>
          <p:nvPr/>
        </p:nvCxnSpPr>
        <p:spPr>
          <a:xfrm>
            <a:off x="8314085" y="4824498"/>
            <a:ext cx="990159" cy="195779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>
            <a:extLst>
              <a:ext uri="{FF2B5EF4-FFF2-40B4-BE49-F238E27FC236}">
                <a16:creationId xmlns:a16="http://schemas.microsoft.com/office/drawing/2014/main" id="{01E49DC2-93FF-47CA-810B-95008C339EBB}"/>
              </a:ext>
            </a:extLst>
          </p:cNvPr>
          <p:cNvCxnSpPr>
            <a:cxnSpLocks/>
          </p:cNvCxnSpPr>
          <p:nvPr/>
        </p:nvCxnSpPr>
        <p:spPr>
          <a:xfrm flipV="1">
            <a:off x="8313321" y="4821100"/>
            <a:ext cx="990923" cy="22022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2" name="TextBox 421">
            <a:extLst>
              <a:ext uri="{FF2B5EF4-FFF2-40B4-BE49-F238E27FC236}">
                <a16:creationId xmlns:a16="http://schemas.microsoft.com/office/drawing/2014/main" id="{1908C766-31F2-45E8-A5B3-F0D643986AD2}"/>
              </a:ext>
            </a:extLst>
          </p:cNvPr>
          <p:cNvSpPr txBox="1"/>
          <p:nvPr/>
        </p:nvSpPr>
        <p:spPr>
          <a:xfrm>
            <a:off x="8786034" y="5238776"/>
            <a:ext cx="27487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- Object write will skip volume 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- Object read will do degraded read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3" name="Left Brace 42">
            <a:extLst>
              <a:ext uri="{FF2B5EF4-FFF2-40B4-BE49-F238E27FC236}">
                <a16:creationId xmlns:a16="http://schemas.microsoft.com/office/drawing/2014/main" id="{4F681EFE-E877-4B67-AA80-375ABF3DCD77}"/>
              </a:ext>
            </a:extLst>
          </p:cNvPr>
          <p:cNvSpPr/>
          <p:nvPr/>
        </p:nvSpPr>
        <p:spPr>
          <a:xfrm rot="16200000">
            <a:off x="8806225" y="4694073"/>
            <a:ext cx="98593" cy="1120452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3" name="Group 482">
            <a:extLst>
              <a:ext uri="{FF2B5EF4-FFF2-40B4-BE49-F238E27FC236}">
                <a16:creationId xmlns:a16="http://schemas.microsoft.com/office/drawing/2014/main" id="{540A5004-D9A3-4874-8E8A-D040BD4A7BFF}"/>
              </a:ext>
            </a:extLst>
          </p:cNvPr>
          <p:cNvGrpSpPr/>
          <p:nvPr/>
        </p:nvGrpSpPr>
        <p:grpSpPr>
          <a:xfrm>
            <a:off x="5251982" y="5918916"/>
            <a:ext cx="6876512" cy="877110"/>
            <a:chOff x="280017" y="3312943"/>
            <a:chExt cx="10319987" cy="960852"/>
          </a:xfrm>
        </p:grpSpPr>
        <p:grpSp>
          <p:nvGrpSpPr>
            <p:cNvPr id="484" name="Group 483">
              <a:extLst>
                <a:ext uri="{FF2B5EF4-FFF2-40B4-BE49-F238E27FC236}">
                  <a16:creationId xmlns:a16="http://schemas.microsoft.com/office/drawing/2014/main" id="{6506F44B-869C-47E1-A7FD-F738A4CEE054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486" name="Group 485">
                <a:extLst>
                  <a:ext uri="{FF2B5EF4-FFF2-40B4-BE49-F238E27FC236}">
                    <a16:creationId xmlns:a16="http://schemas.microsoft.com/office/drawing/2014/main" id="{73E6F3DF-3456-4577-B57B-43C62A4C9977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525" name="Group 524">
                  <a:extLst>
                    <a:ext uri="{FF2B5EF4-FFF2-40B4-BE49-F238E27FC236}">
                      <a16:creationId xmlns:a16="http://schemas.microsoft.com/office/drawing/2014/main" id="{BBA2FE8D-A0B2-4F57-B8D1-FC67E7A43AB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36" name="Can 8">
                    <a:extLst>
                      <a:ext uri="{FF2B5EF4-FFF2-40B4-BE49-F238E27FC236}">
                        <a16:creationId xmlns:a16="http://schemas.microsoft.com/office/drawing/2014/main" id="{D3F6EC9D-93EC-4833-A93F-85DB64AA591D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7" name="Rectangle 536">
                    <a:extLst>
                      <a:ext uri="{FF2B5EF4-FFF2-40B4-BE49-F238E27FC236}">
                        <a16:creationId xmlns:a16="http://schemas.microsoft.com/office/drawing/2014/main" id="{FFA4CADF-C494-4DED-823B-B00AA94B57D4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538" name="Can 8">
                    <a:extLst>
                      <a:ext uri="{FF2B5EF4-FFF2-40B4-BE49-F238E27FC236}">
                        <a16:creationId xmlns:a16="http://schemas.microsoft.com/office/drawing/2014/main" id="{1D6FF09D-D54A-4B56-9AAC-01614F13C1D2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9" name="Can 8">
                    <a:extLst>
                      <a:ext uri="{FF2B5EF4-FFF2-40B4-BE49-F238E27FC236}">
                        <a16:creationId xmlns:a16="http://schemas.microsoft.com/office/drawing/2014/main" id="{7C07CEEF-B6DB-4369-B192-67B1BC1B3BC7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0" name="Can 8">
                    <a:extLst>
                      <a:ext uri="{FF2B5EF4-FFF2-40B4-BE49-F238E27FC236}">
                        <a16:creationId xmlns:a16="http://schemas.microsoft.com/office/drawing/2014/main" id="{EFC98169-76A4-4F21-9DB5-30B17419969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1" name="Can 8">
                    <a:extLst>
                      <a:ext uri="{FF2B5EF4-FFF2-40B4-BE49-F238E27FC236}">
                        <a16:creationId xmlns:a16="http://schemas.microsoft.com/office/drawing/2014/main" id="{482C5C5E-C108-44F3-BB66-B50D3E66A31E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42" name="Can 8">
                    <a:extLst>
                      <a:ext uri="{FF2B5EF4-FFF2-40B4-BE49-F238E27FC236}">
                        <a16:creationId xmlns:a16="http://schemas.microsoft.com/office/drawing/2014/main" id="{7A0E7521-3D28-48F0-8F7D-1A1BA641680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26" name="Can 8">
                  <a:extLst>
                    <a:ext uri="{FF2B5EF4-FFF2-40B4-BE49-F238E27FC236}">
                      <a16:creationId xmlns:a16="http://schemas.microsoft.com/office/drawing/2014/main" id="{98D5DEE5-82C9-4813-9E05-22446B4AFF6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27" name="Group 526">
                  <a:extLst>
                    <a:ext uri="{FF2B5EF4-FFF2-40B4-BE49-F238E27FC236}">
                      <a16:creationId xmlns:a16="http://schemas.microsoft.com/office/drawing/2014/main" id="{99775B87-07AE-4524-88D4-ECD9E561BCF5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529" name="Can 8">
                    <a:extLst>
                      <a:ext uri="{FF2B5EF4-FFF2-40B4-BE49-F238E27FC236}">
                        <a16:creationId xmlns:a16="http://schemas.microsoft.com/office/drawing/2014/main" id="{AE946A61-D129-4827-96D9-4AF727E7285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0" name="Rectangle 529">
                    <a:extLst>
                      <a:ext uri="{FF2B5EF4-FFF2-40B4-BE49-F238E27FC236}">
                        <a16:creationId xmlns:a16="http://schemas.microsoft.com/office/drawing/2014/main" id="{F6E00EA8-513B-4175-9BA6-30C77220BC6D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531" name="Can 8">
                    <a:extLst>
                      <a:ext uri="{FF2B5EF4-FFF2-40B4-BE49-F238E27FC236}">
                        <a16:creationId xmlns:a16="http://schemas.microsoft.com/office/drawing/2014/main" id="{E1E5212F-0E79-4B88-8310-E9DBEB40ADC8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2" name="Can 8">
                    <a:extLst>
                      <a:ext uri="{FF2B5EF4-FFF2-40B4-BE49-F238E27FC236}">
                        <a16:creationId xmlns:a16="http://schemas.microsoft.com/office/drawing/2014/main" id="{4484F256-8F4A-4595-AAAC-829E6B0A9086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3" name="Can 8">
                    <a:extLst>
                      <a:ext uri="{FF2B5EF4-FFF2-40B4-BE49-F238E27FC236}">
                        <a16:creationId xmlns:a16="http://schemas.microsoft.com/office/drawing/2014/main" id="{47CB0DC2-312C-4CEB-BD9B-2D7F7A935304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4" name="Can 8">
                    <a:extLst>
                      <a:ext uri="{FF2B5EF4-FFF2-40B4-BE49-F238E27FC236}">
                        <a16:creationId xmlns:a16="http://schemas.microsoft.com/office/drawing/2014/main" id="{E01FB8BA-FF5B-4055-823E-743DED29960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35" name="Can 8">
                    <a:extLst>
                      <a:ext uri="{FF2B5EF4-FFF2-40B4-BE49-F238E27FC236}">
                        <a16:creationId xmlns:a16="http://schemas.microsoft.com/office/drawing/2014/main" id="{07770783-03A6-4BF7-87A8-4009B62E333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28" name="Can 8">
                  <a:extLst>
                    <a:ext uri="{FF2B5EF4-FFF2-40B4-BE49-F238E27FC236}">
                      <a16:creationId xmlns:a16="http://schemas.microsoft.com/office/drawing/2014/main" id="{B2134825-711C-4BFD-8532-7E7415AA3808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87" name="Group 486">
                <a:extLst>
                  <a:ext uri="{FF2B5EF4-FFF2-40B4-BE49-F238E27FC236}">
                    <a16:creationId xmlns:a16="http://schemas.microsoft.com/office/drawing/2014/main" id="{EC544223-9964-41EF-A777-DDD99525BD84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507" name="Group 506">
                  <a:extLst>
                    <a:ext uri="{FF2B5EF4-FFF2-40B4-BE49-F238E27FC236}">
                      <a16:creationId xmlns:a16="http://schemas.microsoft.com/office/drawing/2014/main" id="{F409EE49-39E5-4C4E-B78E-4D0F01F626E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18" name="Can 8">
                    <a:extLst>
                      <a:ext uri="{FF2B5EF4-FFF2-40B4-BE49-F238E27FC236}">
                        <a16:creationId xmlns:a16="http://schemas.microsoft.com/office/drawing/2014/main" id="{2FDD91F6-45F8-4B61-9B4C-21E319903705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9" name="Rectangle 518">
                    <a:extLst>
                      <a:ext uri="{FF2B5EF4-FFF2-40B4-BE49-F238E27FC236}">
                        <a16:creationId xmlns:a16="http://schemas.microsoft.com/office/drawing/2014/main" id="{49097F00-DB1E-45C8-9A27-D1CEF001F10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520" name="Can 8">
                    <a:extLst>
                      <a:ext uri="{FF2B5EF4-FFF2-40B4-BE49-F238E27FC236}">
                        <a16:creationId xmlns:a16="http://schemas.microsoft.com/office/drawing/2014/main" id="{85AE2848-BCE2-47F6-AFD2-CACB7FCE3FA0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1" name="Can 8">
                    <a:extLst>
                      <a:ext uri="{FF2B5EF4-FFF2-40B4-BE49-F238E27FC236}">
                        <a16:creationId xmlns:a16="http://schemas.microsoft.com/office/drawing/2014/main" id="{E44EA20A-D05F-44CD-B170-F8840A1524FE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2" name="Can 8">
                    <a:extLst>
                      <a:ext uri="{FF2B5EF4-FFF2-40B4-BE49-F238E27FC236}">
                        <a16:creationId xmlns:a16="http://schemas.microsoft.com/office/drawing/2014/main" id="{C68E9B07-CF4D-438F-958B-55EBAEFC8403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3" name="Can 8">
                    <a:extLst>
                      <a:ext uri="{FF2B5EF4-FFF2-40B4-BE49-F238E27FC236}">
                        <a16:creationId xmlns:a16="http://schemas.microsoft.com/office/drawing/2014/main" id="{E98A4F7F-7FF6-4A5C-AD30-1CB61611F31C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24" name="Can 8">
                    <a:extLst>
                      <a:ext uri="{FF2B5EF4-FFF2-40B4-BE49-F238E27FC236}">
                        <a16:creationId xmlns:a16="http://schemas.microsoft.com/office/drawing/2014/main" id="{855DBEDF-EE10-4FB7-90C7-D61CC1C8DF89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08" name="Can 8">
                  <a:extLst>
                    <a:ext uri="{FF2B5EF4-FFF2-40B4-BE49-F238E27FC236}">
                      <a16:creationId xmlns:a16="http://schemas.microsoft.com/office/drawing/2014/main" id="{3D91D13F-CD59-4D0C-8901-5FC10EB2C127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09" name="Group 508">
                  <a:extLst>
                    <a:ext uri="{FF2B5EF4-FFF2-40B4-BE49-F238E27FC236}">
                      <a16:creationId xmlns:a16="http://schemas.microsoft.com/office/drawing/2014/main" id="{4DFC7790-9F57-40F5-ACAB-C8253A4EF4F7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11" name="Can 8">
                    <a:extLst>
                      <a:ext uri="{FF2B5EF4-FFF2-40B4-BE49-F238E27FC236}">
                        <a16:creationId xmlns:a16="http://schemas.microsoft.com/office/drawing/2014/main" id="{C037CDEE-D359-4AE9-B2F9-66EAB390F647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2" name="Rectangle 511">
                    <a:extLst>
                      <a:ext uri="{FF2B5EF4-FFF2-40B4-BE49-F238E27FC236}">
                        <a16:creationId xmlns:a16="http://schemas.microsoft.com/office/drawing/2014/main" id="{78E4D79C-D013-403C-8252-C9774B001B2A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513" name="Can 8">
                    <a:extLst>
                      <a:ext uri="{FF2B5EF4-FFF2-40B4-BE49-F238E27FC236}">
                        <a16:creationId xmlns:a16="http://schemas.microsoft.com/office/drawing/2014/main" id="{24133639-03DF-45A9-80FD-B4942F4F63A7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4" name="Can 8">
                    <a:extLst>
                      <a:ext uri="{FF2B5EF4-FFF2-40B4-BE49-F238E27FC236}">
                        <a16:creationId xmlns:a16="http://schemas.microsoft.com/office/drawing/2014/main" id="{C2097026-E850-4C22-8416-5C8BABA4A23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5" name="Can 8">
                    <a:extLst>
                      <a:ext uri="{FF2B5EF4-FFF2-40B4-BE49-F238E27FC236}">
                        <a16:creationId xmlns:a16="http://schemas.microsoft.com/office/drawing/2014/main" id="{803EE7A3-C241-4875-BE02-17EE57BB48C2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6" name="Can 8">
                    <a:extLst>
                      <a:ext uri="{FF2B5EF4-FFF2-40B4-BE49-F238E27FC236}">
                        <a16:creationId xmlns:a16="http://schemas.microsoft.com/office/drawing/2014/main" id="{5ED2D528-51BA-48BB-A637-C62A7D700CAB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17" name="Can 8">
                    <a:extLst>
                      <a:ext uri="{FF2B5EF4-FFF2-40B4-BE49-F238E27FC236}">
                        <a16:creationId xmlns:a16="http://schemas.microsoft.com/office/drawing/2014/main" id="{61E78D05-27B5-4D04-99F2-BE17B8AA488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10" name="Can 8">
                  <a:extLst>
                    <a:ext uri="{FF2B5EF4-FFF2-40B4-BE49-F238E27FC236}">
                      <a16:creationId xmlns:a16="http://schemas.microsoft.com/office/drawing/2014/main" id="{5BE22A7E-A7A4-4052-AF23-140319BC6523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88" name="Group 487">
                <a:extLst>
                  <a:ext uri="{FF2B5EF4-FFF2-40B4-BE49-F238E27FC236}">
                    <a16:creationId xmlns:a16="http://schemas.microsoft.com/office/drawing/2014/main" id="{E6DF5C70-24BE-4147-A71D-AC2D1C0AAB6A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89" name="Group 488">
                  <a:extLst>
                    <a:ext uri="{FF2B5EF4-FFF2-40B4-BE49-F238E27FC236}">
                      <a16:creationId xmlns:a16="http://schemas.microsoft.com/office/drawing/2014/main" id="{54052BCC-C5F4-4897-A166-5B701A77C3FF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00" name="Can 8">
                    <a:extLst>
                      <a:ext uri="{FF2B5EF4-FFF2-40B4-BE49-F238E27FC236}">
                        <a16:creationId xmlns:a16="http://schemas.microsoft.com/office/drawing/2014/main" id="{B6E4C061-2B39-4BDA-95C7-8D5DEBB97A8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1" name="Rectangle 500">
                    <a:extLst>
                      <a:ext uri="{FF2B5EF4-FFF2-40B4-BE49-F238E27FC236}">
                        <a16:creationId xmlns:a16="http://schemas.microsoft.com/office/drawing/2014/main" id="{E7D22ECE-F0C7-4DE4-9581-0E6CFC636E38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502" name="Can 8">
                    <a:extLst>
                      <a:ext uri="{FF2B5EF4-FFF2-40B4-BE49-F238E27FC236}">
                        <a16:creationId xmlns:a16="http://schemas.microsoft.com/office/drawing/2014/main" id="{0056452E-9E8E-4057-9593-0F929B513A2D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3" name="Can 8">
                    <a:extLst>
                      <a:ext uri="{FF2B5EF4-FFF2-40B4-BE49-F238E27FC236}">
                        <a16:creationId xmlns:a16="http://schemas.microsoft.com/office/drawing/2014/main" id="{DDE3B3DA-3BA2-4304-BF8C-CA1C739A439B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4" name="Can 8">
                    <a:extLst>
                      <a:ext uri="{FF2B5EF4-FFF2-40B4-BE49-F238E27FC236}">
                        <a16:creationId xmlns:a16="http://schemas.microsoft.com/office/drawing/2014/main" id="{14F4EF6A-8F3C-4CBE-B257-201653E7761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5" name="Can 8">
                    <a:extLst>
                      <a:ext uri="{FF2B5EF4-FFF2-40B4-BE49-F238E27FC236}">
                        <a16:creationId xmlns:a16="http://schemas.microsoft.com/office/drawing/2014/main" id="{895EC309-E483-4D2E-A2C3-2F436957BAC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06" name="Can 8">
                    <a:extLst>
                      <a:ext uri="{FF2B5EF4-FFF2-40B4-BE49-F238E27FC236}">
                        <a16:creationId xmlns:a16="http://schemas.microsoft.com/office/drawing/2014/main" id="{BE464144-EEF6-4618-B150-66647DA52818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90" name="Can 8">
                  <a:extLst>
                    <a:ext uri="{FF2B5EF4-FFF2-40B4-BE49-F238E27FC236}">
                      <a16:creationId xmlns:a16="http://schemas.microsoft.com/office/drawing/2014/main" id="{7E347E38-A731-4955-8A1D-BB6B9984009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91" name="Group 490">
                  <a:extLst>
                    <a:ext uri="{FF2B5EF4-FFF2-40B4-BE49-F238E27FC236}">
                      <a16:creationId xmlns:a16="http://schemas.microsoft.com/office/drawing/2014/main" id="{26F3F454-8A39-4AE3-B650-7A75C63C4DF8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93" name="Can 8">
                    <a:extLst>
                      <a:ext uri="{FF2B5EF4-FFF2-40B4-BE49-F238E27FC236}">
                        <a16:creationId xmlns:a16="http://schemas.microsoft.com/office/drawing/2014/main" id="{002D3FDA-F3D9-4FC0-8B7F-FDB0FC1C7A6E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4" name="Rectangle 493">
                    <a:extLst>
                      <a:ext uri="{FF2B5EF4-FFF2-40B4-BE49-F238E27FC236}">
                        <a16:creationId xmlns:a16="http://schemas.microsoft.com/office/drawing/2014/main" id="{B56B152D-850C-4CD7-8C1F-A11CF6EAEC15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495" name="Can 8">
                    <a:extLst>
                      <a:ext uri="{FF2B5EF4-FFF2-40B4-BE49-F238E27FC236}">
                        <a16:creationId xmlns:a16="http://schemas.microsoft.com/office/drawing/2014/main" id="{09B15B8F-87F2-461B-A756-52DC81469D95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6" name="Can 8">
                    <a:extLst>
                      <a:ext uri="{FF2B5EF4-FFF2-40B4-BE49-F238E27FC236}">
                        <a16:creationId xmlns:a16="http://schemas.microsoft.com/office/drawing/2014/main" id="{F9B4B6E2-4E67-4442-B129-E2FCC3A85B9C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7" name="Can 8">
                    <a:extLst>
                      <a:ext uri="{FF2B5EF4-FFF2-40B4-BE49-F238E27FC236}">
                        <a16:creationId xmlns:a16="http://schemas.microsoft.com/office/drawing/2014/main" id="{1A561676-3C06-46F9-A972-6E729C0E3D0A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8" name="Can 8">
                    <a:extLst>
                      <a:ext uri="{FF2B5EF4-FFF2-40B4-BE49-F238E27FC236}">
                        <a16:creationId xmlns:a16="http://schemas.microsoft.com/office/drawing/2014/main" id="{9DEC530F-1A85-4BAC-8B5A-B71E6AD8C34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99" name="Can 8">
                    <a:extLst>
                      <a:ext uri="{FF2B5EF4-FFF2-40B4-BE49-F238E27FC236}">
                        <a16:creationId xmlns:a16="http://schemas.microsoft.com/office/drawing/2014/main" id="{5A63CF9E-1266-4E9F-B94B-6E4067E8829F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92" name="Can 8">
                  <a:extLst>
                    <a:ext uri="{FF2B5EF4-FFF2-40B4-BE49-F238E27FC236}">
                      <a16:creationId xmlns:a16="http://schemas.microsoft.com/office/drawing/2014/main" id="{74DC1579-E3B1-432D-8A42-973794A8F7D1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85" name="Rectangle 484">
              <a:extLst>
                <a:ext uri="{FF2B5EF4-FFF2-40B4-BE49-F238E27FC236}">
                  <a16:creationId xmlns:a16="http://schemas.microsoft.com/office/drawing/2014/main" id="{E791E8C4-7473-428A-AA26-3681194F3A08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X (Storage Set N)</a:t>
              </a:r>
            </a:p>
          </p:txBody>
        </p:sp>
      </p:grpSp>
      <p:sp>
        <p:nvSpPr>
          <p:cNvPr id="200" name="TextBox 199">
            <a:extLst>
              <a:ext uri="{FF2B5EF4-FFF2-40B4-BE49-F238E27FC236}">
                <a16:creationId xmlns:a16="http://schemas.microsoft.com/office/drawing/2014/main" id="{8EB3D333-4152-469A-AF75-89A392F2106A}"/>
              </a:ext>
            </a:extLst>
          </p:cNvPr>
          <p:cNvSpPr txBox="1"/>
          <p:nvPr/>
        </p:nvSpPr>
        <p:spPr>
          <a:xfrm>
            <a:off x="8938434" y="3548313"/>
            <a:ext cx="27487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accent4"/>
                </a:solidFill>
              </a:rPr>
              <a:t>Note:</a:t>
            </a:r>
            <a:r>
              <a:rPr lang="en-US" sz="1200" dirty="0">
                <a:solidFill>
                  <a:schemeClr val="accent4"/>
                </a:solidFill>
              </a:rPr>
              <a:t> Once a DG is marked as failed, a new Pool version will get created and associated with Poon B</a:t>
            </a:r>
          </a:p>
        </p:txBody>
      </p:sp>
    </p:spTree>
    <p:extLst>
      <p:ext uri="{BB962C8B-B14F-4D97-AF65-F5344CB8AC3E}">
        <p14:creationId xmlns:p14="http://schemas.microsoft.com/office/powerpoint/2010/main" val="43638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4A0EB7DD-34D2-473B-A375-384AF162D079}"/>
              </a:ext>
            </a:extLst>
          </p:cNvPr>
          <p:cNvSpPr/>
          <p:nvPr/>
        </p:nvSpPr>
        <p:spPr>
          <a:xfrm>
            <a:off x="322219" y="1064686"/>
            <a:ext cx="5098865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1</a:t>
            </a: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F5C8CCF6-5E3E-4FAE-A0BE-E1B8096AAEF9}"/>
              </a:ext>
            </a:extLst>
          </p:cNvPr>
          <p:cNvSpPr/>
          <p:nvPr/>
        </p:nvSpPr>
        <p:spPr>
          <a:xfrm>
            <a:off x="2870104" y="1539451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314672" y="549671"/>
            <a:ext cx="11565041" cy="3074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341526" y="-437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torage Set Detail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1EB589-B668-44A4-BEB8-AF2956293F47}"/>
              </a:ext>
            </a:extLst>
          </p:cNvPr>
          <p:cNvGrpSpPr/>
          <p:nvPr/>
        </p:nvGrpSpPr>
        <p:grpSpPr>
          <a:xfrm>
            <a:off x="322222" y="4315336"/>
            <a:ext cx="5129346" cy="1972251"/>
            <a:chOff x="322222" y="4489508"/>
            <a:chExt cx="5129346" cy="1972251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7EC73BF-159D-4F9E-BEDB-DB8B4415C279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Can 8">
                  <a:extLst>
                    <a:ext uri="{FF2B5EF4-FFF2-40B4-BE49-F238E27FC236}">
                      <a16:creationId xmlns:a16="http://schemas.microsoft.com/office/drawing/2014/main" id="{7C1E8E77-E8AD-4664-BFD9-37752D87B08C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4EDB66DF-4F69-41E0-8C1B-F7AF82FD93DB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55" name="Can 8">
                  <a:extLst>
                    <a:ext uri="{FF2B5EF4-FFF2-40B4-BE49-F238E27FC236}">
                      <a16:creationId xmlns:a16="http://schemas.microsoft.com/office/drawing/2014/main" id="{472EB162-3051-44A0-923E-986114805365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BC1017B3-E606-4CDA-9131-EF750626D34A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57" name="Can 8">
                  <a:extLst>
                    <a:ext uri="{FF2B5EF4-FFF2-40B4-BE49-F238E27FC236}">
                      <a16:creationId xmlns:a16="http://schemas.microsoft.com/office/drawing/2014/main" id="{3142C01F-36B4-4244-8300-FA343CF23D16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Can 8">
                  <a:extLst>
                    <a:ext uri="{FF2B5EF4-FFF2-40B4-BE49-F238E27FC236}">
                      <a16:creationId xmlns:a16="http://schemas.microsoft.com/office/drawing/2014/main" id="{7AC5ED97-B4DE-4625-ACEC-48EB8B7D00D5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Can 8">
                  <a:extLst>
                    <a:ext uri="{FF2B5EF4-FFF2-40B4-BE49-F238E27FC236}">
                      <a16:creationId xmlns:a16="http://schemas.microsoft.com/office/drawing/2014/main" id="{4B121A0B-4810-4FAA-95C5-4F00E6EFAA26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" name="Can 8">
                  <a:extLst>
                    <a:ext uri="{FF2B5EF4-FFF2-40B4-BE49-F238E27FC236}">
                      <a16:creationId xmlns:a16="http://schemas.microsoft.com/office/drawing/2014/main" id="{56FD2B2D-0A50-4326-AE6B-0BA23A68CADD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1" name="Can 8">
                  <a:extLst>
                    <a:ext uri="{FF2B5EF4-FFF2-40B4-BE49-F238E27FC236}">
                      <a16:creationId xmlns:a16="http://schemas.microsoft.com/office/drawing/2014/main" id="{BC8660BA-5FA9-41D8-B2E3-E9B8CEBC398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9270FF5-25DC-4BF7-8C74-25024D7364DB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C574BBE-8332-4FB2-8FE2-C88E8BD10F43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AA77BED-54EC-472B-975D-4101F4C76B7E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A7451866-8AF0-4BEA-B047-48A9B807C08B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317866" y="3061238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ED94E25-2306-4E47-9D5C-7168F9039674}"/>
              </a:ext>
            </a:extLst>
          </p:cNvPr>
          <p:cNvGrpSpPr/>
          <p:nvPr/>
        </p:nvGrpSpPr>
        <p:grpSpPr>
          <a:xfrm>
            <a:off x="2957068" y="3139971"/>
            <a:ext cx="2348132" cy="670178"/>
            <a:chOff x="2957068" y="3139971"/>
            <a:chExt cx="2348132" cy="670178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9C860C0-6F1E-4EC7-919F-942A43590637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C2135A0-E2F2-4AD6-A373-0EF3117D2C6B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14" name="Can 8">
                <a:extLst>
                  <a:ext uri="{FF2B5EF4-FFF2-40B4-BE49-F238E27FC236}">
                    <a16:creationId xmlns:a16="http://schemas.microsoft.com/office/drawing/2014/main" id="{0CEC8621-4D36-4E88-B564-62DFC977325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Can 8">
                <a:extLst>
                  <a:ext uri="{FF2B5EF4-FFF2-40B4-BE49-F238E27FC236}">
                    <a16:creationId xmlns:a16="http://schemas.microsoft.com/office/drawing/2014/main" id="{445699B7-D683-4BB3-953A-B26D41E8597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Can 8">
                <a:extLst>
                  <a:ext uri="{FF2B5EF4-FFF2-40B4-BE49-F238E27FC236}">
                    <a16:creationId xmlns:a16="http://schemas.microsoft.com/office/drawing/2014/main" id="{0B99A77C-BAFE-453E-88CC-44A79DFDEED3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Can 8">
                <a:extLst>
                  <a:ext uri="{FF2B5EF4-FFF2-40B4-BE49-F238E27FC236}">
                    <a16:creationId xmlns:a16="http://schemas.microsoft.com/office/drawing/2014/main" id="{4E1AA41F-82BA-4005-A396-6CD2528F32A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Can 8">
                <a:extLst>
                  <a:ext uri="{FF2B5EF4-FFF2-40B4-BE49-F238E27FC236}">
                    <a16:creationId xmlns:a16="http://schemas.microsoft.com/office/drawing/2014/main" id="{1F7EAAAA-29B8-4A72-A877-E21FFEC2E7FD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9" name="Can 8">
                <a:extLst>
                  <a:ext uri="{FF2B5EF4-FFF2-40B4-BE49-F238E27FC236}">
                    <a16:creationId xmlns:a16="http://schemas.microsoft.com/office/drawing/2014/main" id="{1E6BD5D2-71FF-494D-87D8-0BD65D1FB939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Can 8">
                <a:extLst>
                  <a:ext uri="{FF2B5EF4-FFF2-40B4-BE49-F238E27FC236}">
                    <a16:creationId xmlns:a16="http://schemas.microsoft.com/office/drawing/2014/main" id="{7925BDD0-3E47-4D17-90F5-AE005E428CE1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Can 8">
                <a:extLst>
                  <a:ext uri="{FF2B5EF4-FFF2-40B4-BE49-F238E27FC236}">
                    <a16:creationId xmlns:a16="http://schemas.microsoft.com/office/drawing/2014/main" id="{62B7AC08-9003-4A1D-AC94-191912D6366C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47C25BC9-D555-4607-B990-A1D8F8CE0F17}"/>
              </a:ext>
            </a:extLst>
          </p:cNvPr>
          <p:cNvGrpSpPr/>
          <p:nvPr/>
        </p:nvGrpSpPr>
        <p:grpSpPr>
          <a:xfrm>
            <a:off x="479476" y="3135617"/>
            <a:ext cx="2348132" cy="670178"/>
            <a:chOff x="2957068" y="3139971"/>
            <a:chExt cx="2348132" cy="670178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3AC6DE11-D9F9-47F4-8616-D7D4ADB0D615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7192B7EB-2463-4D53-AE1F-787B875CBD9F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29" name="Can 8">
                <a:extLst>
                  <a:ext uri="{FF2B5EF4-FFF2-40B4-BE49-F238E27FC236}">
                    <a16:creationId xmlns:a16="http://schemas.microsoft.com/office/drawing/2014/main" id="{5ACFA160-12B0-409F-B7A8-709089FB8533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Can 8">
                <a:extLst>
                  <a:ext uri="{FF2B5EF4-FFF2-40B4-BE49-F238E27FC236}">
                    <a16:creationId xmlns:a16="http://schemas.microsoft.com/office/drawing/2014/main" id="{9868401F-39BF-4CAF-AC0C-2A43AEDF204C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Can 8">
                <a:extLst>
                  <a:ext uri="{FF2B5EF4-FFF2-40B4-BE49-F238E27FC236}">
                    <a16:creationId xmlns:a16="http://schemas.microsoft.com/office/drawing/2014/main" id="{A2E50A3F-415B-4648-82BA-AF1E625A404E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Can 8">
                <a:extLst>
                  <a:ext uri="{FF2B5EF4-FFF2-40B4-BE49-F238E27FC236}">
                    <a16:creationId xmlns:a16="http://schemas.microsoft.com/office/drawing/2014/main" id="{D9016686-48DA-4CB8-AF34-4192E16D3DA5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Can 8">
                <a:extLst>
                  <a:ext uri="{FF2B5EF4-FFF2-40B4-BE49-F238E27FC236}">
                    <a16:creationId xmlns:a16="http://schemas.microsoft.com/office/drawing/2014/main" id="{78AFE95C-4973-4BEB-AAC8-109D16B406F3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34" name="Can 8">
                <a:extLst>
                  <a:ext uri="{FF2B5EF4-FFF2-40B4-BE49-F238E27FC236}">
                    <a16:creationId xmlns:a16="http://schemas.microsoft.com/office/drawing/2014/main" id="{7C766F5C-1DEE-4253-B968-B750D75A1E94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Can 8">
                <a:extLst>
                  <a:ext uri="{FF2B5EF4-FFF2-40B4-BE49-F238E27FC236}">
                    <a16:creationId xmlns:a16="http://schemas.microsoft.com/office/drawing/2014/main" id="{1FA8D815-42E2-4CF1-B15F-58376E2393C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Can 8">
                <a:extLst>
                  <a:ext uri="{FF2B5EF4-FFF2-40B4-BE49-F238E27FC236}">
                    <a16:creationId xmlns:a16="http://schemas.microsoft.com/office/drawing/2014/main" id="{3B338A78-9FC7-4B56-B8FC-FDD41B91987B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EC1B5AB5-6BE0-4F7D-932C-E81B454F69E9}"/>
              </a:ext>
            </a:extLst>
          </p:cNvPr>
          <p:cNvSpPr/>
          <p:nvPr/>
        </p:nvSpPr>
        <p:spPr>
          <a:xfrm>
            <a:off x="418634" y="1526390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1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3E3FEB66-207D-4C7C-BE5A-F1BA5E779058}"/>
              </a:ext>
            </a:extLst>
          </p:cNvPr>
          <p:cNvGrpSpPr/>
          <p:nvPr/>
        </p:nvGrpSpPr>
        <p:grpSpPr>
          <a:xfrm>
            <a:off x="470886" y="1915811"/>
            <a:ext cx="2343648" cy="1135095"/>
            <a:chOff x="470886" y="1915811"/>
            <a:chExt cx="2343648" cy="1135095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41101200-C769-4742-9507-CEC4DDB20BFE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17" name="Connector: Elbow 16">
              <a:extLst>
                <a:ext uri="{FF2B5EF4-FFF2-40B4-BE49-F238E27FC236}">
                  <a16:creationId xmlns:a16="http://schemas.microsoft.com/office/drawing/2014/main" id="{5CC70D83-5DD6-4386-B8A0-9A4E5029E35A}"/>
                </a:ext>
              </a:extLst>
            </p:cNvPr>
            <p:cNvCxnSpPr>
              <a:cxnSpLocks/>
              <a:stCxn id="138" idx="2"/>
              <a:endCxn id="150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Left Brace 21">
              <a:extLst>
                <a:ext uri="{FF2B5EF4-FFF2-40B4-BE49-F238E27FC236}">
                  <a16:creationId xmlns:a16="http://schemas.microsoft.com/office/drawing/2014/main" id="{FE4E9A17-4D22-4239-899F-32842E0B1A64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7" name="Connector: Elbow 136">
              <a:extLst>
                <a:ext uri="{FF2B5EF4-FFF2-40B4-BE49-F238E27FC236}">
                  <a16:creationId xmlns:a16="http://schemas.microsoft.com/office/drawing/2014/main" id="{5A13C606-F00B-4EC5-9A23-B0F5919D2DA0}"/>
                </a:ext>
              </a:extLst>
            </p:cNvPr>
            <p:cNvCxnSpPr>
              <a:cxnSpLocks/>
              <a:stCxn id="14" idx="2"/>
              <a:endCxn id="22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Rectangle: Rounded Corners 137">
              <a:extLst>
                <a:ext uri="{FF2B5EF4-FFF2-40B4-BE49-F238E27FC236}">
                  <a16:creationId xmlns:a16="http://schemas.microsoft.com/office/drawing/2014/main" id="{642EE853-2262-447A-BCAB-4EB2E6076157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150" name="Left Brace 149">
              <a:extLst>
                <a:ext uri="{FF2B5EF4-FFF2-40B4-BE49-F238E27FC236}">
                  <a16:creationId xmlns:a16="http://schemas.microsoft.com/office/drawing/2014/main" id="{27A993BB-EFDB-4D5E-9D37-33C0E0931D6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B918E91C-06CF-492C-8F37-69A7DB84E027}"/>
              </a:ext>
            </a:extLst>
          </p:cNvPr>
          <p:cNvGrpSpPr/>
          <p:nvPr/>
        </p:nvGrpSpPr>
        <p:grpSpPr>
          <a:xfrm>
            <a:off x="2983312" y="1925699"/>
            <a:ext cx="2343648" cy="1138268"/>
            <a:chOff x="470886" y="1912638"/>
            <a:chExt cx="2343648" cy="1138268"/>
          </a:xfrm>
        </p:grpSpPr>
        <p:sp>
          <p:nvSpPr>
            <p:cNvPr id="155" name="Rectangle: Rounded Corners 154">
              <a:extLst>
                <a:ext uri="{FF2B5EF4-FFF2-40B4-BE49-F238E27FC236}">
                  <a16:creationId xmlns:a16="http://schemas.microsoft.com/office/drawing/2014/main" id="{CFB7FC7C-7453-471F-ABCA-67B8AD0860D2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156" name="Connector: Elbow 155">
              <a:extLst>
                <a:ext uri="{FF2B5EF4-FFF2-40B4-BE49-F238E27FC236}">
                  <a16:creationId xmlns:a16="http://schemas.microsoft.com/office/drawing/2014/main" id="{3514C170-FD35-49AF-AD2D-FB9621B44041}"/>
                </a:ext>
              </a:extLst>
            </p:cNvPr>
            <p:cNvCxnSpPr>
              <a:cxnSpLocks/>
              <a:stCxn id="159" idx="2"/>
              <a:endCxn id="160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Left Brace 156">
              <a:extLst>
                <a:ext uri="{FF2B5EF4-FFF2-40B4-BE49-F238E27FC236}">
                  <a16:creationId xmlns:a16="http://schemas.microsoft.com/office/drawing/2014/main" id="{2A264C4A-1579-4B2D-8FED-F1C1C981A906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8" name="Connector: Elbow 157">
              <a:extLst>
                <a:ext uri="{FF2B5EF4-FFF2-40B4-BE49-F238E27FC236}">
                  <a16:creationId xmlns:a16="http://schemas.microsoft.com/office/drawing/2014/main" id="{8A4716C9-D5ED-403C-B1E3-D9856992EEAC}"/>
                </a:ext>
              </a:extLst>
            </p:cNvPr>
            <p:cNvCxnSpPr>
              <a:cxnSpLocks/>
              <a:stCxn id="155" idx="2"/>
              <a:endCxn id="157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6C5714ED-AB41-48C9-BC99-425B9598CED8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160" name="Left Brace 159">
              <a:extLst>
                <a:ext uri="{FF2B5EF4-FFF2-40B4-BE49-F238E27FC236}">
                  <a16:creationId xmlns:a16="http://schemas.microsoft.com/office/drawing/2014/main" id="{79557C7F-6A3B-45D0-9217-1A06025113C8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5505A7F2-E9C7-4AC9-AF56-26964937AC24}"/>
              </a:ext>
            </a:extLst>
          </p:cNvPr>
          <p:cNvCxnSpPr>
            <a:stCxn id="14" idx="3"/>
            <a:endCxn id="138" idx="1"/>
          </p:cNvCxnSpPr>
          <p:nvPr/>
        </p:nvCxnSpPr>
        <p:spPr>
          <a:xfrm>
            <a:off x="1349311" y="2159601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7F12B7D1-FEAE-4832-BA40-B9F5FAE22B71}"/>
              </a:ext>
            </a:extLst>
          </p:cNvPr>
          <p:cNvCxnSpPr>
            <a:cxnSpLocks/>
            <a:stCxn id="155" idx="3"/>
          </p:cNvCxnSpPr>
          <p:nvPr/>
        </p:nvCxnSpPr>
        <p:spPr>
          <a:xfrm flipV="1">
            <a:off x="3855839" y="2169488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Arrow: Up-Down 169">
            <a:extLst>
              <a:ext uri="{FF2B5EF4-FFF2-40B4-BE49-F238E27FC236}">
                <a16:creationId xmlns:a16="http://schemas.microsoft.com/office/drawing/2014/main" id="{5693DBA7-780E-4D47-B0AB-E4E4DE7DD15A}"/>
              </a:ext>
            </a:extLst>
          </p:cNvPr>
          <p:cNvSpPr/>
          <p:nvPr/>
        </p:nvSpPr>
        <p:spPr>
          <a:xfrm>
            <a:off x="2766766" y="844108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9175DDC3-A42F-4128-B808-B057BD5B6C3B}"/>
              </a:ext>
            </a:extLst>
          </p:cNvPr>
          <p:cNvSpPr/>
          <p:nvPr/>
        </p:nvSpPr>
        <p:spPr>
          <a:xfrm>
            <a:off x="6779641" y="1069035"/>
            <a:ext cx="5124990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N</a:t>
            </a: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969723FA-891D-4536-A2A2-D2E21C4D4C60}"/>
              </a:ext>
            </a:extLst>
          </p:cNvPr>
          <p:cNvSpPr/>
          <p:nvPr/>
        </p:nvSpPr>
        <p:spPr>
          <a:xfrm>
            <a:off x="9353650" y="1543800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2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DF000CAD-DCEC-41E2-888E-95FB49E0075D}"/>
              </a:ext>
            </a:extLst>
          </p:cNvPr>
          <p:cNvGrpSpPr/>
          <p:nvPr/>
        </p:nvGrpSpPr>
        <p:grpSpPr>
          <a:xfrm>
            <a:off x="6805768" y="4354517"/>
            <a:ext cx="5129346" cy="1972251"/>
            <a:chOff x="322222" y="4489508"/>
            <a:chExt cx="5129346" cy="1972251"/>
          </a:xfrm>
        </p:grpSpPr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F384647D-CCD8-4091-9AC4-6DE6FFED06D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FE6249A4-8271-4D35-B1F6-64D6BE4E2E2B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40760EB6-01AA-4161-928B-55357C411990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9" name="Can 8">
                  <a:extLst>
                    <a:ext uri="{FF2B5EF4-FFF2-40B4-BE49-F238E27FC236}">
                      <a16:creationId xmlns:a16="http://schemas.microsoft.com/office/drawing/2014/main" id="{9493AB08-CC0F-4C3D-BF25-EFC69CABC7E1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080F0C3D-ED46-4B9F-A4C6-E0A0F249F5F1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191" name="Can 8">
                  <a:extLst>
                    <a:ext uri="{FF2B5EF4-FFF2-40B4-BE49-F238E27FC236}">
                      <a16:creationId xmlns:a16="http://schemas.microsoft.com/office/drawing/2014/main" id="{6595E928-54D9-4CAA-AAC9-D2003E8AC0FB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2" name="Can 8">
                  <a:extLst>
                    <a:ext uri="{FF2B5EF4-FFF2-40B4-BE49-F238E27FC236}">
                      <a16:creationId xmlns:a16="http://schemas.microsoft.com/office/drawing/2014/main" id="{7B449C9D-069B-4457-8C4B-BD37547F3376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3" name="Can 8">
                  <a:extLst>
                    <a:ext uri="{FF2B5EF4-FFF2-40B4-BE49-F238E27FC236}">
                      <a16:creationId xmlns:a16="http://schemas.microsoft.com/office/drawing/2014/main" id="{D2DF44DE-2442-40A4-8E6F-867FBF8DDA82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4" name="Can 8">
                  <a:extLst>
                    <a:ext uri="{FF2B5EF4-FFF2-40B4-BE49-F238E27FC236}">
                      <a16:creationId xmlns:a16="http://schemas.microsoft.com/office/drawing/2014/main" id="{8DD4987F-BEBD-4AC0-BAC4-1FE1A6A94EE7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95" name="Can 8">
                  <a:extLst>
                    <a:ext uri="{FF2B5EF4-FFF2-40B4-BE49-F238E27FC236}">
                      <a16:creationId xmlns:a16="http://schemas.microsoft.com/office/drawing/2014/main" id="{698BDD04-5F21-417A-A116-525D678B2B4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81" name="Group 180">
                <a:extLst>
                  <a:ext uri="{FF2B5EF4-FFF2-40B4-BE49-F238E27FC236}">
                    <a16:creationId xmlns:a16="http://schemas.microsoft.com/office/drawing/2014/main" id="{FBC9F178-7AFF-4535-BBCA-AAB6082417B2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2" name="Can 8">
                  <a:extLst>
                    <a:ext uri="{FF2B5EF4-FFF2-40B4-BE49-F238E27FC236}">
                      <a16:creationId xmlns:a16="http://schemas.microsoft.com/office/drawing/2014/main" id="{A51E3875-2F85-41DA-AA92-E2A9CD93422C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3" name="Rectangle 182">
                  <a:extLst>
                    <a:ext uri="{FF2B5EF4-FFF2-40B4-BE49-F238E27FC236}">
                      <a16:creationId xmlns:a16="http://schemas.microsoft.com/office/drawing/2014/main" id="{EB4608C5-F6F7-4419-B1A7-97FA3BC1E1C2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184" name="Can 8">
                  <a:extLst>
                    <a:ext uri="{FF2B5EF4-FFF2-40B4-BE49-F238E27FC236}">
                      <a16:creationId xmlns:a16="http://schemas.microsoft.com/office/drawing/2014/main" id="{35CF2B7E-6391-42EA-BF56-86DCE9164A1D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5" name="Can 8">
                  <a:extLst>
                    <a:ext uri="{FF2B5EF4-FFF2-40B4-BE49-F238E27FC236}">
                      <a16:creationId xmlns:a16="http://schemas.microsoft.com/office/drawing/2014/main" id="{95700274-9099-43BD-9E02-BB1644CC90A4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6" name="Can 8">
                  <a:extLst>
                    <a:ext uri="{FF2B5EF4-FFF2-40B4-BE49-F238E27FC236}">
                      <a16:creationId xmlns:a16="http://schemas.microsoft.com/office/drawing/2014/main" id="{46290B34-D7BC-498B-AAEE-0E0FA5208C3A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7" name="Can 8">
                  <a:extLst>
                    <a:ext uri="{FF2B5EF4-FFF2-40B4-BE49-F238E27FC236}">
                      <a16:creationId xmlns:a16="http://schemas.microsoft.com/office/drawing/2014/main" id="{1193355D-D9C7-4B35-8998-EBB322937DB8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88" name="Can 8">
                  <a:extLst>
                    <a:ext uri="{FF2B5EF4-FFF2-40B4-BE49-F238E27FC236}">
                      <a16:creationId xmlns:a16="http://schemas.microsoft.com/office/drawing/2014/main" id="{880B65DA-69FF-49CF-8E3C-DECD81AB4CB6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2D010092-5B93-45F0-9178-5C12A8507938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2C5B2E86-BDFB-4C66-9666-AB7489AB50DF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6421D894-BF56-4D46-995F-E4DD3C8E206C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2ECFDD2E-7A4F-40DB-A965-FA3AA14EC1A6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196" name="Rectangle 195">
            <a:extLst>
              <a:ext uri="{FF2B5EF4-FFF2-40B4-BE49-F238E27FC236}">
                <a16:creationId xmlns:a16="http://schemas.microsoft.com/office/drawing/2014/main" id="{847FDBE8-955F-431F-A11C-99329FA41C47}"/>
              </a:ext>
            </a:extLst>
          </p:cNvPr>
          <p:cNvSpPr/>
          <p:nvPr/>
        </p:nvSpPr>
        <p:spPr>
          <a:xfrm>
            <a:off x="6801412" y="3065587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Layer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1C840FB6-4D24-488E-8781-372BBE007DF9}"/>
              </a:ext>
            </a:extLst>
          </p:cNvPr>
          <p:cNvGrpSpPr/>
          <p:nvPr/>
        </p:nvGrpSpPr>
        <p:grpSpPr>
          <a:xfrm>
            <a:off x="9440614" y="3144320"/>
            <a:ext cx="2348132" cy="670178"/>
            <a:chOff x="2957068" y="3139971"/>
            <a:chExt cx="2348132" cy="670178"/>
          </a:xfrm>
        </p:grpSpPr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E8D72FFC-DE8C-41C2-85A3-1F876F75BC16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F0B17ED9-D653-41CB-AD6B-3B11EFA3817D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406668"/>
              <a:chOff x="3029499" y="3405274"/>
              <a:chExt cx="2165173" cy="406668"/>
            </a:xfrm>
          </p:grpSpPr>
          <p:sp>
            <p:nvSpPr>
              <p:cNvPr id="200" name="Can 8">
                <a:extLst>
                  <a:ext uri="{FF2B5EF4-FFF2-40B4-BE49-F238E27FC236}">
                    <a16:creationId xmlns:a16="http://schemas.microsoft.com/office/drawing/2014/main" id="{C50550F6-A4C8-410C-AF09-2E0A7F2255D1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Can 8">
                <a:extLst>
                  <a:ext uri="{FF2B5EF4-FFF2-40B4-BE49-F238E27FC236}">
                    <a16:creationId xmlns:a16="http://schemas.microsoft.com/office/drawing/2014/main" id="{C209E180-B36D-4F3D-95A3-5B05A56E8479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2" name="Can 8">
                <a:extLst>
                  <a:ext uri="{FF2B5EF4-FFF2-40B4-BE49-F238E27FC236}">
                    <a16:creationId xmlns:a16="http://schemas.microsoft.com/office/drawing/2014/main" id="{A928A5E4-3DDA-4D45-844D-A6777CABD946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3" name="Can 8">
                <a:extLst>
                  <a:ext uri="{FF2B5EF4-FFF2-40B4-BE49-F238E27FC236}">
                    <a16:creationId xmlns:a16="http://schemas.microsoft.com/office/drawing/2014/main" id="{BF5A6308-249A-4959-AA81-E7F4CC848A66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4" name="Can 8">
                <a:extLst>
                  <a:ext uri="{FF2B5EF4-FFF2-40B4-BE49-F238E27FC236}">
                    <a16:creationId xmlns:a16="http://schemas.microsoft.com/office/drawing/2014/main" id="{EDF15CE1-60B3-4951-84F6-047598C4E7A8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5" name="Can 8">
                <a:extLst>
                  <a:ext uri="{FF2B5EF4-FFF2-40B4-BE49-F238E27FC236}">
                    <a16:creationId xmlns:a16="http://schemas.microsoft.com/office/drawing/2014/main" id="{BC6D9AA5-718A-4E90-A740-BE03A4D4A41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Can 8">
                <a:extLst>
                  <a:ext uri="{FF2B5EF4-FFF2-40B4-BE49-F238E27FC236}">
                    <a16:creationId xmlns:a16="http://schemas.microsoft.com/office/drawing/2014/main" id="{694686E4-1625-41D5-8C90-B2C43B97C918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Can 8">
                <a:extLst>
                  <a:ext uri="{FF2B5EF4-FFF2-40B4-BE49-F238E27FC236}">
                    <a16:creationId xmlns:a16="http://schemas.microsoft.com/office/drawing/2014/main" id="{A49FA606-A533-4394-B5D0-E00181CEF433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tx2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1" name="Can 8">
                <a:extLst>
                  <a:ext uri="{FF2B5EF4-FFF2-40B4-BE49-F238E27FC236}">
                    <a16:creationId xmlns:a16="http://schemas.microsoft.com/office/drawing/2014/main" id="{29A41D04-24AF-49CB-AA3F-415DC30194D6}"/>
                  </a:ext>
                </a:extLst>
              </p:cNvPr>
              <p:cNvSpPr/>
              <p:nvPr/>
            </p:nvSpPr>
            <p:spPr>
              <a:xfrm>
                <a:off x="4996648" y="3445692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259DF3FA-6595-47FD-B6B0-819CD9E88F7C}"/>
              </a:ext>
            </a:extLst>
          </p:cNvPr>
          <p:cNvGrpSpPr/>
          <p:nvPr/>
        </p:nvGrpSpPr>
        <p:grpSpPr>
          <a:xfrm>
            <a:off x="6963022" y="3139966"/>
            <a:ext cx="2348132" cy="670178"/>
            <a:chOff x="2957068" y="3139971"/>
            <a:chExt cx="2348132" cy="670178"/>
          </a:xfrm>
        </p:grpSpPr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694498FE-0890-45EA-9769-21D34D411F0B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5D3C6FDD-9F3D-4036-9DA4-636B190B0127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11" name="Can 8">
                <a:extLst>
                  <a:ext uri="{FF2B5EF4-FFF2-40B4-BE49-F238E27FC236}">
                    <a16:creationId xmlns:a16="http://schemas.microsoft.com/office/drawing/2014/main" id="{BC85230D-83A0-4B73-8DCA-A33BB7811895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Can 8">
                <a:extLst>
                  <a:ext uri="{FF2B5EF4-FFF2-40B4-BE49-F238E27FC236}">
                    <a16:creationId xmlns:a16="http://schemas.microsoft.com/office/drawing/2014/main" id="{8804933D-9F03-42D6-A97B-0AAD434025DD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Can 8">
                <a:extLst>
                  <a:ext uri="{FF2B5EF4-FFF2-40B4-BE49-F238E27FC236}">
                    <a16:creationId xmlns:a16="http://schemas.microsoft.com/office/drawing/2014/main" id="{B911300A-4878-437D-8D0F-4F485CD5F6FC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Can 8">
                <a:extLst>
                  <a:ext uri="{FF2B5EF4-FFF2-40B4-BE49-F238E27FC236}">
                    <a16:creationId xmlns:a16="http://schemas.microsoft.com/office/drawing/2014/main" id="{1FFF5359-7D52-4E5E-803F-DB7622750862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Can 8">
                <a:extLst>
                  <a:ext uri="{FF2B5EF4-FFF2-40B4-BE49-F238E27FC236}">
                    <a16:creationId xmlns:a16="http://schemas.microsoft.com/office/drawing/2014/main" id="{CC44D11D-94CA-4792-8E82-04B7C5E39E6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6" name="Can 8">
                <a:extLst>
                  <a:ext uri="{FF2B5EF4-FFF2-40B4-BE49-F238E27FC236}">
                    <a16:creationId xmlns:a16="http://schemas.microsoft.com/office/drawing/2014/main" id="{A3BE5E2C-A490-4AD5-938B-6B6F390E016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7" name="Can 8">
                <a:extLst>
                  <a:ext uri="{FF2B5EF4-FFF2-40B4-BE49-F238E27FC236}">
                    <a16:creationId xmlns:a16="http://schemas.microsoft.com/office/drawing/2014/main" id="{B7E30146-618E-410E-A652-4DB916969C2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8" name="Can 8">
                <a:extLst>
                  <a:ext uri="{FF2B5EF4-FFF2-40B4-BE49-F238E27FC236}">
                    <a16:creationId xmlns:a16="http://schemas.microsoft.com/office/drawing/2014/main" id="{25392BA6-AD4B-4E49-A9BD-1F2C123AB559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AD4499C9-503F-4A6D-846E-53DF90DC3B0F}"/>
              </a:ext>
            </a:extLst>
          </p:cNvPr>
          <p:cNvSpPr/>
          <p:nvPr/>
        </p:nvSpPr>
        <p:spPr>
          <a:xfrm>
            <a:off x="6902180" y="1530739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1</a:t>
            </a: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557C96D0-38E0-4D9F-88CD-E2DE33279EBA}"/>
              </a:ext>
            </a:extLst>
          </p:cNvPr>
          <p:cNvGrpSpPr/>
          <p:nvPr/>
        </p:nvGrpSpPr>
        <p:grpSpPr>
          <a:xfrm>
            <a:off x="6954432" y="1920160"/>
            <a:ext cx="2343648" cy="1135095"/>
            <a:chOff x="470886" y="1915811"/>
            <a:chExt cx="2343648" cy="1135095"/>
          </a:xfrm>
        </p:grpSpPr>
        <p:sp>
          <p:nvSpPr>
            <p:cNvPr id="221" name="Rectangle: Rounded Corners 220">
              <a:extLst>
                <a:ext uri="{FF2B5EF4-FFF2-40B4-BE49-F238E27FC236}">
                  <a16:creationId xmlns:a16="http://schemas.microsoft.com/office/drawing/2014/main" id="{0A3D0AAF-7FC5-46F5-AD3B-ECDEECFCFE40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222" name="Connector: Elbow 221">
              <a:extLst>
                <a:ext uri="{FF2B5EF4-FFF2-40B4-BE49-F238E27FC236}">
                  <a16:creationId xmlns:a16="http://schemas.microsoft.com/office/drawing/2014/main" id="{FD123314-CE0B-4F43-B249-C3C25F64744F}"/>
                </a:ext>
              </a:extLst>
            </p:cNvPr>
            <p:cNvCxnSpPr>
              <a:cxnSpLocks/>
              <a:stCxn id="225" idx="2"/>
              <a:endCxn id="226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3" name="Left Brace 222">
              <a:extLst>
                <a:ext uri="{FF2B5EF4-FFF2-40B4-BE49-F238E27FC236}">
                  <a16:creationId xmlns:a16="http://schemas.microsoft.com/office/drawing/2014/main" id="{57A10134-E90E-471B-AB7F-559E17263082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4" name="Connector: Elbow 223">
              <a:extLst>
                <a:ext uri="{FF2B5EF4-FFF2-40B4-BE49-F238E27FC236}">
                  <a16:creationId xmlns:a16="http://schemas.microsoft.com/office/drawing/2014/main" id="{D2006577-E35F-45EF-AB9E-37154AF02B6E}"/>
                </a:ext>
              </a:extLst>
            </p:cNvPr>
            <p:cNvCxnSpPr>
              <a:cxnSpLocks/>
              <a:stCxn id="221" idx="2"/>
              <a:endCxn id="223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" name="Rectangle: Rounded Corners 224">
              <a:extLst>
                <a:ext uri="{FF2B5EF4-FFF2-40B4-BE49-F238E27FC236}">
                  <a16:creationId xmlns:a16="http://schemas.microsoft.com/office/drawing/2014/main" id="{FCE21126-C036-431F-AF12-AC9BBF3404B9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226" name="Left Brace 225">
              <a:extLst>
                <a:ext uri="{FF2B5EF4-FFF2-40B4-BE49-F238E27FC236}">
                  <a16:creationId xmlns:a16="http://schemas.microsoft.com/office/drawing/2014/main" id="{A1F70428-CAE2-4149-A489-4E89E9A4232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D914FBD-46C8-499B-9677-0839F2A566EA}"/>
              </a:ext>
            </a:extLst>
          </p:cNvPr>
          <p:cNvGrpSpPr/>
          <p:nvPr/>
        </p:nvGrpSpPr>
        <p:grpSpPr>
          <a:xfrm>
            <a:off x="9466858" y="1930048"/>
            <a:ext cx="2343648" cy="1138268"/>
            <a:chOff x="470886" y="1912638"/>
            <a:chExt cx="2343648" cy="1138268"/>
          </a:xfrm>
        </p:grpSpPr>
        <p:sp>
          <p:nvSpPr>
            <p:cNvPr id="228" name="Rectangle: Rounded Corners 227">
              <a:extLst>
                <a:ext uri="{FF2B5EF4-FFF2-40B4-BE49-F238E27FC236}">
                  <a16:creationId xmlns:a16="http://schemas.microsoft.com/office/drawing/2014/main" id="{5581C09F-9D3B-4B41-8BC3-88143381A90D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229" name="Connector: Elbow 228">
              <a:extLst>
                <a:ext uri="{FF2B5EF4-FFF2-40B4-BE49-F238E27FC236}">
                  <a16:creationId xmlns:a16="http://schemas.microsoft.com/office/drawing/2014/main" id="{0516712E-8823-4462-985A-7222D50B3AE1}"/>
                </a:ext>
              </a:extLst>
            </p:cNvPr>
            <p:cNvCxnSpPr>
              <a:cxnSpLocks/>
              <a:stCxn id="232" idx="2"/>
              <a:endCxn id="233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0" name="Left Brace 229">
              <a:extLst>
                <a:ext uri="{FF2B5EF4-FFF2-40B4-BE49-F238E27FC236}">
                  <a16:creationId xmlns:a16="http://schemas.microsoft.com/office/drawing/2014/main" id="{74EAB12A-860A-49B7-ABD7-1B381BA834ED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1" name="Connector: Elbow 230">
              <a:extLst>
                <a:ext uri="{FF2B5EF4-FFF2-40B4-BE49-F238E27FC236}">
                  <a16:creationId xmlns:a16="http://schemas.microsoft.com/office/drawing/2014/main" id="{FEFCB6DA-054E-4DCE-B784-B08F06292BE2}"/>
                </a:ext>
              </a:extLst>
            </p:cNvPr>
            <p:cNvCxnSpPr>
              <a:cxnSpLocks/>
              <a:stCxn id="228" idx="2"/>
              <a:endCxn id="230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2" name="Rectangle: Rounded Corners 231">
              <a:extLst>
                <a:ext uri="{FF2B5EF4-FFF2-40B4-BE49-F238E27FC236}">
                  <a16:creationId xmlns:a16="http://schemas.microsoft.com/office/drawing/2014/main" id="{C6AFA3A2-FC9A-4992-AC55-B5364866EC69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233" name="Left Brace 232">
              <a:extLst>
                <a:ext uri="{FF2B5EF4-FFF2-40B4-BE49-F238E27FC236}">
                  <a16:creationId xmlns:a16="http://schemas.microsoft.com/office/drawing/2014/main" id="{869A61E4-CFB9-4AF6-B264-C34BB0340AA7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Rectangle: Rounded Corners 241">
              <a:extLst>
                <a:ext uri="{FF2B5EF4-FFF2-40B4-BE49-F238E27FC236}">
                  <a16:creationId xmlns:a16="http://schemas.microsoft.com/office/drawing/2014/main" id="{CE892029-B0D4-4FB6-A37E-BD79E449A30B}"/>
                </a:ext>
              </a:extLst>
            </p:cNvPr>
            <p:cNvSpPr/>
            <p:nvPr/>
          </p:nvSpPr>
          <p:spPr>
            <a:xfrm>
              <a:off x="1732715" y="1923691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</p:grpSp>
      <p:cxnSp>
        <p:nvCxnSpPr>
          <p:cNvPr id="234" name="Straight Arrow Connector 233">
            <a:extLst>
              <a:ext uri="{FF2B5EF4-FFF2-40B4-BE49-F238E27FC236}">
                <a16:creationId xmlns:a16="http://schemas.microsoft.com/office/drawing/2014/main" id="{D181C82B-96C8-4249-AFAC-47E9066DD0E1}"/>
              </a:ext>
            </a:extLst>
          </p:cNvPr>
          <p:cNvCxnSpPr>
            <a:stCxn id="221" idx="3"/>
            <a:endCxn id="225" idx="1"/>
          </p:cNvCxnSpPr>
          <p:nvPr/>
        </p:nvCxnSpPr>
        <p:spPr>
          <a:xfrm>
            <a:off x="7832857" y="2163950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Arrow Connector 234">
            <a:extLst>
              <a:ext uri="{FF2B5EF4-FFF2-40B4-BE49-F238E27FC236}">
                <a16:creationId xmlns:a16="http://schemas.microsoft.com/office/drawing/2014/main" id="{6BD727D0-24BF-48F6-8F26-91C3F597A5AB}"/>
              </a:ext>
            </a:extLst>
          </p:cNvPr>
          <p:cNvCxnSpPr>
            <a:cxnSpLocks/>
            <a:stCxn id="228" idx="3"/>
          </p:cNvCxnSpPr>
          <p:nvPr/>
        </p:nvCxnSpPr>
        <p:spPr>
          <a:xfrm flipV="1">
            <a:off x="10339385" y="2173837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Arrow: Up-Down 235">
            <a:extLst>
              <a:ext uri="{FF2B5EF4-FFF2-40B4-BE49-F238E27FC236}">
                <a16:creationId xmlns:a16="http://schemas.microsoft.com/office/drawing/2014/main" id="{3D8E184C-AFDE-4D45-9D51-F01DDCD28535}"/>
              </a:ext>
            </a:extLst>
          </p:cNvPr>
          <p:cNvSpPr/>
          <p:nvPr/>
        </p:nvSpPr>
        <p:spPr>
          <a:xfrm>
            <a:off x="9250312" y="848457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5CC2C0DC-1722-463F-8B6D-F91E17C27742}"/>
              </a:ext>
            </a:extLst>
          </p:cNvPr>
          <p:cNvCxnSpPr/>
          <p:nvPr/>
        </p:nvCxnSpPr>
        <p:spPr>
          <a:xfrm>
            <a:off x="5791200" y="5765074"/>
            <a:ext cx="67926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2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176061" y="4337"/>
            <a:ext cx="8509354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6EBE49"/>
                </a:solidFill>
                <a:latin typeface="Arial"/>
              </a:rPr>
              <a:t>Enclosure SSD Configuration For Metadata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6EBE49"/>
              </a:solidFill>
              <a:effectLst/>
              <a:uLnTx/>
              <a:uFillTx/>
              <a:latin typeface="Arial"/>
              <a:ea typeface="+mj-e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A63DA23-7B21-4615-BCB0-07ACEF7C2234}"/>
              </a:ext>
            </a:extLst>
          </p:cNvPr>
          <p:cNvSpPr/>
          <p:nvPr/>
        </p:nvSpPr>
        <p:spPr>
          <a:xfrm>
            <a:off x="160256" y="3063709"/>
            <a:ext cx="11849492" cy="1825951"/>
          </a:xfrm>
          <a:prstGeom prst="rect">
            <a:avLst/>
          </a:prstGeom>
          <a:noFill/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closure 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160256" y="855363"/>
            <a:ext cx="11792931" cy="1378785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39684379-6B3D-4F95-B974-ED745BE34456}"/>
              </a:ext>
            </a:extLst>
          </p:cNvPr>
          <p:cNvGrpSpPr/>
          <p:nvPr/>
        </p:nvGrpSpPr>
        <p:grpSpPr>
          <a:xfrm>
            <a:off x="320226" y="1305212"/>
            <a:ext cx="5385654" cy="830288"/>
            <a:chOff x="2957068" y="3033444"/>
            <a:chExt cx="2348132" cy="670178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FA688B1E-D41E-4C66-B6BA-5978A92CC7FA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3D704BF-011A-4D14-9F94-4EB4C24CDAA1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42" name="Can 8">
                <a:extLst>
                  <a:ext uri="{FF2B5EF4-FFF2-40B4-BE49-F238E27FC236}">
                    <a16:creationId xmlns:a16="http://schemas.microsoft.com/office/drawing/2014/main" id="{C0231BF0-D37A-4769-8CF8-EF666AD767A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3" name="Can 8">
                <a:extLst>
                  <a:ext uri="{FF2B5EF4-FFF2-40B4-BE49-F238E27FC236}">
                    <a16:creationId xmlns:a16="http://schemas.microsoft.com/office/drawing/2014/main" id="{CFCA3774-CF14-4F0B-9857-FC872F38138B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4" name="Can 8">
                <a:extLst>
                  <a:ext uri="{FF2B5EF4-FFF2-40B4-BE49-F238E27FC236}">
                    <a16:creationId xmlns:a16="http://schemas.microsoft.com/office/drawing/2014/main" id="{3368C70F-9F92-413B-B505-0BAF71E543A4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5" name="Can 8">
                <a:extLst>
                  <a:ext uri="{FF2B5EF4-FFF2-40B4-BE49-F238E27FC236}">
                    <a16:creationId xmlns:a16="http://schemas.microsoft.com/office/drawing/2014/main" id="{FC6759E1-1FDB-4A6E-AF67-BDB2E244A02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7" name="Can 8">
                <a:extLst>
                  <a:ext uri="{FF2B5EF4-FFF2-40B4-BE49-F238E27FC236}">
                    <a16:creationId xmlns:a16="http://schemas.microsoft.com/office/drawing/2014/main" id="{7DED60DB-C532-4402-86B8-288C81CE651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148" name="Can 8">
                <a:extLst>
                  <a:ext uri="{FF2B5EF4-FFF2-40B4-BE49-F238E27FC236}">
                    <a16:creationId xmlns:a16="http://schemas.microsoft.com/office/drawing/2014/main" id="{9C2BDA2D-FCDB-4837-9A7E-15623A05C3E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9" name="Can 8">
                <a:extLst>
                  <a:ext uri="{FF2B5EF4-FFF2-40B4-BE49-F238E27FC236}">
                    <a16:creationId xmlns:a16="http://schemas.microsoft.com/office/drawing/2014/main" id="{E7EB2DA0-57F9-4B61-9F43-B27818A95335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51" name="Can 8">
                <a:extLst>
                  <a:ext uri="{FF2B5EF4-FFF2-40B4-BE49-F238E27FC236}">
                    <a16:creationId xmlns:a16="http://schemas.microsoft.com/office/drawing/2014/main" id="{1412172A-F778-4DE3-9F4F-F6DC0BD9D91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r>
                  <a:rPr lang="en-US" sz="1200" b="1" dirty="0"/>
                  <a:t>MD</a:t>
                </a: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7382C1A-9008-43D0-ACE3-704FD626CB39}"/>
              </a:ext>
            </a:extLst>
          </p:cNvPr>
          <p:cNvGrpSpPr/>
          <p:nvPr/>
        </p:nvGrpSpPr>
        <p:grpSpPr>
          <a:xfrm>
            <a:off x="316757" y="3245268"/>
            <a:ext cx="5367608" cy="1254914"/>
            <a:chOff x="307330" y="4640440"/>
            <a:chExt cx="5367608" cy="125491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DB2876A2-9577-4343-9FD6-A71E67F54EB2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3" name="Straight Connector 2">
                <a:extLst>
                  <a:ext uri="{FF2B5EF4-FFF2-40B4-BE49-F238E27FC236}">
                    <a16:creationId xmlns:a16="http://schemas.microsoft.com/office/drawing/2014/main" id="{BF1872BC-C131-43EE-8F1B-9B8250A39B28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EABB38E-534D-42D6-99C9-E87229551C24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9D6B765-6A54-4F9F-A388-DC47090813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162" name="Picture 161">
                <a:extLst>
                  <a:ext uri="{FF2B5EF4-FFF2-40B4-BE49-F238E27FC236}">
                    <a16:creationId xmlns:a16="http://schemas.microsoft.com/office/drawing/2014/main" id="{68094A79-9FD3-4421-AE70-FDF362E2ED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95F55F77-B307-43D0-8879-57D335BB6B6B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C20363FD-D246-443D-A7A8-A61ED4F23233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798776E9-6C6C-4700-B9CE-9A64BA01B27E}"/>
              </a:ext>
            </a:extLst>
          </p:cNvPr>
          <p:cNvGrpSpPr/>
          <p:nvPr/>
        </p:nvGrpSpPr>
        <p:grpSpPr>
          <a:xfrm>
            <a:off x="6411509" y="1306780"/>
            <a:ext cx="5385654" cy="830288"/>
            <a:chOff x="2957068" y="3033444"/>
            <a:chExt cx="2348132" cy="670178"/>
          </a:xfrm>
        </p:grpSpPr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CE711C99-DFFC-4AAE-9F7C-3F43D615CDC5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68EBCCB4-87A4-4F43-AC3F-F68418C04B8E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56" name="Can 8">
                <a:extLst>
                  <a:ext uri="{FF2B5EF4-FFF2-40B4-BE49-F238E27FC236}">
                    <a16:creationId xmlns:a16="http://schemas.microsoft.com/office/drawing/2014/main" id="{52E10E98-C316-4576-A032-D3C37150ECEC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7" name="Can 8">
                <a:extLst>
                  <a:ext uri="{FF2B5EF4-FFF2-40B4-BE49-F238E27FC236}">
                    <a16:creationId xmlns:a16="http://schemas.microsoft.com/office/drawing/2014/main" id="{6FE71F81-11FD-42ED-A9C0-CEC5DBA3EAB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8" name="Can 8">
                <a:extLst>
                  <a:ext uri="{FF2B5EF4-FFF2-40B4-BE49-F238E27FC236}">
                    <a16:creationId xmlns:a16="http://schemas.microsoft.com/office/drawing/2014/main" id="{8598FB3B-1ACA-45A9-A8DE-131A75FBD36D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9" name="Can 8">
                <a:extLst>
                  <a:ext uri="{FF2B5EF4-FFF2-40B4-BE49-F238E27FC236}">
                    <a16:creationId xmlns:a16="http://schemas.microsoft.com/office/drawing/2014/main" id="{D42CD648-C588-4EDF-9826-8F04DDB6BD1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0" name="Can 8">
                <a:extLst>
                  <a:ext uri="{FF2B5EF4-FFF2-40B4-BE49-F238E27FC236}">
                    <a16:creationId xmlns:a16="http://schemas.microsoft.com/office/drawing/2014/main" id="{8E24A6D5-D2F1-4861-9462-7D98299650FC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261" name="Can 8">
                <a:extLst>
                  <a:ext uri="{FF2B5EF4-FFF2-40B4-BE49-F238E27FC236}">
                    <a16:creationId xmlns:a16="http://schemas.microsoft.com/office/drawing/2014/main" id="{8D41FC4C-BD3B-4B67-BD1A-C3661515980D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2" name="Can 8">
                <a:extLst>
                  <a:ext uri="{FF2B5EF4-FFF2-40B4-BE49-F238E27FC236}">
                    <a16:creationId xmlns:a16="http://schemas.microsoft.com/office/drawing/2014/main" id="{23D0CEF8-BEAF-4AB2-A2F4-02F91C82D83A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3" name="Can 8">
                <a:extLst>
                  <a:ext uri="{FF2B5EF4-FFF2-40B4-BE49-F238E27FC236}">
                    <a16:creationId xmlns:a16="http://schemas.microsoft.com/office/drawing/2014/main" id="{7100FB84-299E-407C-9C9D-D2E7B9CB332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8" name="Left Brace 17">
            <a:extLst>
              <a:ext uri="{FF2B5EF4-FFF2-40B4-BE49-F238E27FC236}">
                <a16:creationId xmlns:a16="http://schemas.microsoft.com/office/drawing/2014/main" id="{83B6338E-8638-42DA-9011-B8F93B99A70B}"/>
              </a:ext>
            </a:extLst>
          </p:cNvPr>
          <p:cNvSpPr/>
          <p:nvPr/>
        </p:nvSpPr>
        <p:spPr>
          <a:xfrm rot="5400000">
            <a:off x="2871753" y="195390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E770AB5-FE11-476F-9DBA-DEE8A4E021EA}"/>
              </a:ext>
            </a:extLst>
          </p:cNvPr>
          <p:cNvCxnSpPr>
            <a:stCxn id="140" idx="2"/>
            <a:endCxn id="18" idx="1"/>
          </p:cNvCxnSpPr>
          <p:nvPr/>
        </p:nvCxnSpPr>
        <p:spPr>
          <a:xfrm>
            <a:off x="3013053" y="2135500"/>
            <a:ext cx="4481" cy="590365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B8B24BBB-BFA0-4AF0-8925-504B3673C7AE}"/>
              </a:ext>
            </a:extLst>
          </p:cNvPr>
          <p:cNvCxnSpPr>
            <a:cxnSpLocks/>
            <a:stCxn id="151" idx="3"/>
            <a:endCxn id="164" idx="0"/>
          </p:cNvCxnSpPr>
          <p:nvPr/>
        </p:nvCxnSpPr>
        <p:spPr>
          <a:xfrm rot="5400000">
            <a:off x="2541776" y="541788"/>
            <a:ext cx="1226634" cy="4180327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4EBD7B9-5964-4692-99C8-60847D12EE36}"/>
              </a:ext>
            </a:extLst>
          </p:cNvPr>
          <p:cNvSpPr txBox="1"/>
          <p:nvPr/>
        </p:nvSpPr>
        <p:spPr>
          <a:xfrm>
            <a:off x="201950" y="4994283"/>
            <a:ext cx="5378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deally SSD Capacity &gt;= Metadata Volume Size / 2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EF983787-DA07-4448-85EF-33246E64330C}"/>
              </a:ext>
            </a:extLst>
          </p:cNvPr>
          <p:cNvSpPr txBox="1"/>
          <p:nvPr/>
        </p:nvSpPr>
        <p:spPr>
          <a:xfrm>
            <a:off x="297791" y="2318654"/>
            <a:ext cx="2245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erformance Affinity</a:t>
            </a:r>
          </a:p>
        </p:txBody>
      </p:sp>
      <p:sp>
        <p:nvSpPr>
          <p:cNvPr id="265" name="Left Brace 264">
            <a:extLst>
              <a:ext uri="{FF2B5EF4-FFF2-40B4-BE49-F238E27FC236}">
                <a16:creationId xmlns:a16="http://schemas.microsoft.com/office/drawing/2014/main" id="{1408A377-E7E6-42FE-896E-F73721FE9F52}"/>
              </a:ext>
            </a:extLst>
          </p:cNvPr>
          <p:cNvSpPr/>
          <p:nvPr/>
        </p:nvSpPr>
        <p:spPr>
          <a:xfrm rot="5400000">
            <a:off x="8963040" y="159254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6" name="Straight Arrow Connector 265">
            <a:extLst>
              <a:ext uri="{FF2B5EF4-FFF2-40B4-BE49-F238E27FC236}">
                <a16:creationId xmlns:a16="http://schemas.microsoft.com/office/drawing/2014/main" id="{5B646D51-3EF0-4285-B1D9-AF1C0FC61679}"/>
              </a:ext>
            </a:extLst>
          </p:cNvPr>
          <p:cNvCxnSpPr>
            <a:cxnSpLocks/>
            <a:stCxn id="254" idx="2"/>
            <a:endCxn id="265" idx="1"/>
          </p:cNvCxnSpPr>
          <p:nvPr/>
        </p:nvCxnSpPr>
        <p:spPr>
          <a:xfrm>
            <a:off x="9104336" y="2137068"/>
            <a:ext cx="4485" cy="552661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Connector: Elbow 266">
            <a:extLst>
              <a:ext uri="{FF2B5EF4-FFF2-40B4-BE49-F238E27FC236}">
                <a16:creationId xmlns:a16="http://schemas.microsoft.com/office/drawing/2014/main" id="{A57EC6AB-18E1-4944-B814-93E213C13D78}"/>
              </a:ext>
            </a:extLst>
          </p:cNvPr>
          <p:cNvCxnSpPr>
            <a:cxnSpLocks/>
            <a:stCxn id="263" idx="3"/>
            <a:endCxn id="275" idx="0"/>
          </p:cNvCxnSpPr>
          <p:nvPr/>
        </p:nvCxnSpPr>
        <p:spPr>
          <a:xfrm rot="5400000">
            <a:off x="8628346" y="576351"/>
            <a:ext cx="1264342" cy="4152044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267">
            <a:extLst>
              <a:ext uri="{FF2B5EF4-FFF2-40B4-BE49-F238E27FC236}">
                <a16:creationId xmlns:a16="http://schemas.microsoft.com/office/drawing/2014/main" id="{ADBE3EB4-4256-49CF-A588-A1EF1EAEB50A}"/>
              </a:ext>
            </a:extLst>
          </p:cNvPr>
          <p:cNvSpPr txBox="1"/>
          <p:nvPr/>
        </p:nvSpPr>
        <p:spPr>
          <a:xfrm>
            <a:off x="6379652" y="2310798"/>
            <a:ext cx="872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ffinity</a:t>
            </a: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128A7D89-77F7-4B11-ACAD-0F4071B41099}"/>
              </a:ext>
            </a:extLst>
          </p:cNvPr>
          <p:cNvGrpSpPr/>
          <p:nvPr/>
        </p:nvGrpSpPr>
        <p:grpSpPr>
          <a:xfrm>
            <a:off x="6436323" y="3284544"/>
            <a:ext cx="5367608" cy="1254914"/>
            <a:chOff x="307330" y="4640440"/>
            <a:chExt cx="5367608" cy="1254914"/>
          </a:xfrm>
        </p:grpSpPr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F04E201E-FFAC-4A82-9BC6-270DF5587AFC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276" name="Group 275">
                <a:extLst>
                  <a:ext uri="{FF2B5EF4-FFF2-40B4-BE49-F238E27FC236}">
                    <a16:creationId xmlns:a16="http://schemas.microsoft.com/office/drawing/2014/main" id="{E0E7BAF3-F7E6-45BE-A32F-E1FC7FB3AF45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278" name="Can 8">
                  <a:extLst>
                    <a:ext uri="{FF2B5EF4-FFF2-40B4-BE49-F238E27FC236}">
                      <a16:creationId xmlns:a16="http://schemas.microsoft.com/office/drawing/2014/main" id="{B5507D90-81E1-4339-A141-6703BB2C3A16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9" name="Rectangle 278">
                  <a:extLst>
                    <a:ext uri="{FF2B5EF4-FFF2-40B4-BE49-F238E27FC236}">
                      <a16:creationId xmlns:a16="http://schemas.microsoft.com/office/drawing/2014/main" id="{8F1BC843-00FC-465A-9A5D-16AF458AA7C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280" name="Can 8">
                  <a:extLst>
                    <a:ext uri="{FF2B5EF4-FFF2-40B4-BE49-F238E27FC236}">
                      <a16:creationId xmlns:a16="http://schemas.microsoft.com/office/drawing/2014/main" id="{6A5836B4-53F4-4E44-BEAB-5D5C57D4E416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1" name="Can 8">
                  <a:extLst>
                    <a:ext uri="{FF2B5EF4-FFF2-40B4-BE49-F238E27FC236}">
                      <a16:creationId xmlns:a16="http://schemas.microsoft.com/office/drawing/2014/main" id="{28D63459-42F3-48A8-98B6-E74936AB0354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2" name="Can 8">
                  <a:extLst>
                    <a:ext uri="{FF2B5EF4-FFF2-40B4-BE49-F238E27FC236}">
                      <a16:creationId xmlns:a16="http://schemas.microsoft.com/office/drawing/2014/main" id="{D3551167-CCFD-4ED8-A728-0A333F82FA6B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3" name="Can 8">
                  <a:extLst>
                    <a:ext uri="{FF2B5EF4-FFF2-40B4-BE49-F238E27FC236}">
                      <a16:creationId xmlns:a16="http://schemas.microsoft.com/office/drawing/2014/main" id="{3AF0477D-AFEB-42F5-96C8-A9590E13258F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277" name="Straight Connector 276">
                <a:extLst>
                  <a:ext uri="{FF2B5EF4-FFF2-40B4-BE49-F238E27FC236}">
                    <a16:creationId xmlns:a16="http://schemas.microsoft.com/office/drawing/2014/main" id="{2EC18F77-288D-444A-BA8C-0E4A3A8EA33E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DD0720B6-E690-4FFE-A155-3B28CB99B2C0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272" name="Picture 271">
                <a:extLst>
                  <a:ext uri="{FF2B5EF4-FFF2-40B4-BE49-F238E27FC236}">
                    <a16:creationId xmlns:a16="http://schemas.microsoft.com/office/drawing/2014/main" id="{047BE06C-04A2-4A4A-9201-0927E26E5F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273" name="Picture 272">
                <a:extLst>
                  <a:ext uri="{FF2B5EF4-FFF2-40B4-BE49-F238E27FC236}">
                    <a16:creationId xmlns:a16="http://schemas.microsoft.com/office/drawing/2014/main" id="{213CCA3A-F951-4D54-95FA-5E4F77EA82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A4F57CBF-D6D7-4115-A26E-5D46241D0A43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FABD7695-A7C7-496F-B312-50ABFD78E114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778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heme/theme1.xml><?xml version="1.0" encoding="utf-8"?>
<a:theme xmlns:a="http://schemas.openxmlformats.org/drawingml/2006/main" name="1_Seagate_Template_2017">
  <a:themeElements>
    <a:clrScheme name="New Seagate Theme 2">
      <a:dk1>
        <a:srgbClr val="000000"/>
      </a:dk1>
      <a:lt1>
        <a:srgbClr val="FFFFFF"/>
      </a:lt1>
      <a:dk2>
        <a:srgbClr val="78777A"/>
      </a:dk2>
      <a:lt2>
        <a:srgbClr val="FFFFFF"/>
      </a:lt2>
      <a:accent1>
        <a:srgbClr val="6EBE49"/>
      </a:accent1>
      <a:accent2>
        <a:srgbClr val="868589"/>
      </a:accent2>
      <a:accent3>
        <a:srgbClr val="000000"/>
      </a:accent3>
      <a:accent4>
        <a:srgbClr val="F8BE15"/>
      </a:accent4>
      <a:accent5>
        <a:srgbClr val="00A1DD"/>
      </a:accent5>
      <a:accent6>
        <a:srgbClr val="008F98"/>
      </a:accent6>
      <a:hlink>
        <a:srgbClr val="6EBE4A"/>
      </a:hlink>
      <a:folHlink>
        <a:srgbClr val="86858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6" id="{99340EC1-D018-F241-A1DD-48396BC6DDC3}" vid="{28ADEB87-9F15-8E41-A0E3-EDC92A33EB1E}"/>
    </a:ext>
  </a:extLst>
</a:theme>
</file>

<file path=ppt/theme/theme3.xml><?xml version="1.0" encoding="utf-8"?>
<a:theme xmlns:a="http://schemas.openxmlformats.org/drawingml/2006/main" name="Internal with Page numb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4.xml><?xml version="1.0" encoding="utf-8"?>
<a:theme xmlns:a="http://schemas.openxmlformats.org/drawingml/2006/main" name="1_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8" id="{0B82EFEB-F44A-2945-8ED2-6B41C8269EE4}" vid="{D82BB68C-BF31-5341-BD78-E06E79D02748}"/>
    </a:ext>
  </a:extLst>
</a:theme>
</file>

<file path=ppt/theme/theme5.xml><?xml version="1.0" encoding="utf-8"?>
<a:theme xmlns:a="http://schemas.openxmlformats.org/drawingml/2006/main" name="Mast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104BC548CBC64288D8C702F05F8484" ma:contentTypeVersion="" ma:contentTypeDescription="Create a new document." ma:contentTypeScope="" ma:versionID="5fce39971f742b15a49664c532220197">
  <xsd:schema xmlns:xsd="http://www.w3.org/2001/XMLSchema" xmlns:xs="http://www.w3.org/2001/XMLSchema" xmlns:p="http://schemas.microsoft.com/office/2006/metadata/properties" xmlns:ns2="7d5b1f3f-e1a2-4051-b3ff-61befe3e5706" xmlns:ns3="e03414f7-9e45-4237-93c4-78fc1700a097" targetNamespace="http://schemas.microsoft.com/office/2006/metadata/properties" ma:root="true" ma:fieldsID="ef1ebf6fc92da47388df519b3f3286fb" ns2:_="" ns3:_="">
    <xsd:import namespace="7d5b1f3f-e1a2-4051-b3ff-61befe3e5706"/>
    <xsd:import namespace="e03414f7-9e45-4237-93c4-78fc1700a09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Resource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b1f3f-e1a2-4051-b3ff-61befe3e570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3414f7-9e45-4237-93c4-78fc1700a097" elementFormDefault="qualified">
    <xsd:import namespace="http://schemas.microsoft.com/office/2006/documentManagement/types"/>
    <xsd:import namespace="http://schemas.microsoft.com/office/infopath/2007/PartnerControls"/>
    <xsd:element name="ResourceId" ma:index="10" nillable="true" ma:displayName="ResourceId" ma:indexed="true" ma:internalName="ResourceId">
      <xsd:simpleType>
        <xsd:restriction base="dms:Text"/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d5b1f3f-e1a2-4051-b3ff-61befe3e5706">
      <UserInfo>
        <DisplayName>CORTX SME Members</DisplayName>
        <AccountId>20809</AccountId>
        <AccountType/>
      </UserInfo>
      <UserInfo>
        <DisplayName>Ken Claffey</DisplayName>
        <AccountId>660</AccountId>
        <AccountType/>
      </UserInfo>
      <UserInfo>
        <DisplayName>John Callender</DisplayName>
        <AccountId>1891</AccountId>
        <AccountType/>
      </UserInfo>
    </SharedWithUsers>
    <ResourceId xmlns="e03414f7-9e45-4237-93c4-78fc1700a097" xsi:nil="true"/>
  </documentManagement>
</p:properties>
</file>

<file path=customXml/itemProps1.xml><?xml version="1.0" encoding="utf-8"?>
<ds:datastoreItem xmlns:ds="http://schemas.openxmlformats.org/officeDocument/2006/customXml" ds:itemID="{7F291D47-0E7B-4CA0-91E7-E276214E13E8}">
  <ds:schemaRefs>
    <ds:schemaRef ds:uri="7d5b1f3f-e1a2-4051-b3ff-61befe3e5706"/>
    <ds:schemaRef ds:uri="e03414f7-9e45-4237-93c4-78fc1700a0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32DF934-28EC-4FD9-AB14-B7F1769B6F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ACDCE7-50C5-47B0-882D-D801FB819EF4}">
  <ds:schemaRefs>
    <ds:schemaRef ds:uri="http://schemas.openxmlformats.org/package/2006/metadata/core-properties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e03414f7-9e45-4237-93c4-78fc1700a097"/>
    <ds:schemaRef ds:uri="7d5b1f3f-e1a2-4051-b3ff-61befe3e570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317</TotalTime>
  <Words>458</Words>
  <Application>Microsoft Office PowerPoint</Application>
  <PresentationFormat>Widescreen</PresentationFormat>
  <Paragraphs>143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9" baseType="lpstr">
      <vt:lpstr>Arial</vt:lpstr>
      <vt:lpstr>Calibri</vt:lpstr>
      <vt:lpstr>Comic Sans MS</vt:lpstr>
      <vt:lpstr>Flaticon</vt:lpstr>
      <vt:lpstr>Helvetica Neue LT Std 45 Light</vt:lpstr>
      <vt:lpstr>Helvetica Neue LT Std 55 Roman</vt:lpstr>
      <vt:lpstr>Helvetica Neue LT Std 75</vt:lpstr>
      <vt:lpstr>HelveticaNeueLT Std Ext</vt:lpstr>
      <vt:lpstr>Lato</vt:lpstr>
      <vt:lpstr>Merriweather Sans</vt:lpstr>
      <vt:lpstr>Noto Sans Symbols</vt:lpstr>
      <vt:lpstr>Noto Symbol</vt:lpstr>
      <vt:lpstr>Open Sans</vt:lpstr>
      <vt:lpstr>Open Sans Light</vt:lpstr>
      <vt:lpstr>Questrial</vt:lpstr>
      <vt:lpstr>Segoe UI</vt:lpstr>
      <vt:lpstr>Times New Roman</vt:lpstr>
      <vt:lpstr>Wingdings</vt:lpstr>
      <vt:lpstr>1_Seagate_Template_2017</vt:lpstr>
      <vt:lpstr>Internal Spreads</vt:lpstr>
      <vt:lpstr>Internal with Page number</vt:lpstr>
      <vt:lpstr>1_Internal Spreads</vt:lpstr>
      <vt:lpstr>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S Architecture  (Requi)</dc:title>
  <dc:creator/>
  <cp:lastModifiedBy>Shankar Tukaram More</cp:lastModifiedBy>
  <cp:revision>95</cp:revision>
  <dcterms:created xsi:type="dcterms:W3CDTF">2020-03-11T05:48:11Z</dcterms:created>
  <dcterms:modified xsi:type="dcterms:W3CDTF">2020-12-24T09:1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104BC548CBC64288D8C702F05F8484</vt:lpwstr>
  </property>
  <property fmtid="{D5CDD505-2E9C-101B-9397-08002B2CF9AE}" pid="3" name="_SourceUrl">
    <vt:lpwstr/>
  </property>
  <property fmtid="{D5CDD505-2E9C-101B-9397-08002B2CF9AE}" pid="4" name="_SharedFileIndex">
    <vt:lpwstr/>
  </property>
  <property fmtid="{D5CDD505-2E9C-101B-9397-08002B2CF9AE}" pid="5" name="ComplianceAssetId">
    <vt:lpwstr/>
  </property>
  <property fmtid="{D5CDD505-2E9C-101B-9397-08002B2CF9AE}" pid="6" name="SharedWithUsers">
    <vt:lpwstr>7104;#Pranay Kumar;#7103;#Ajay Srivastava;#16656;#Amit Kapil;#1043;#Chetan Subhash Deshmukh;#20809;#CORTX SME Members;#6961;#BK Singh;#662;#Mohamad El-Batal;#6962;#Ujjwal Lanjewar;#7041;#Tony Tian</vt:lpwstr>
  </property>
</Properties>
</file>